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7" r:id="rId2"/>
    <p:sldMasterId id="2147483712" r:id="rId3"/>
  </p:sldMasterIdLst>
  <p:notesMasterIdLst>
    <p:notesMasterId r:id="rId12"/>
  </p:notesMasterIdLst>
  <p:handoutMasterIdLst>
    <p:handoutMasterId r:id="rId13"/>
  </p:handoutMasterIdLst>
  <p:sldIdLst>
    <p:sldId id="256" r:id="rId4"/>
    <p:sldId id="597" r:id="rId5"/>
    <p:sldId id="598" r:id="rId6"/>
    <p:sldId id="601" r:id="rId7"/>
    <p:sldId id="602" r:id="rId8"/>
    <p:sldId id="603" r:id="rId9"/>
    <p:sldId id="605" r:id="rId10"/>
    <p:sldId id="266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1F282F01-D4B1-4E20-B21F-BCD10298617C}">
          <p14:sldIdLst>
            <p14:sldId id="256"/>
            <p14:sldId id="597"/>
            <p14:sldId id="598"/>
            <p14:sldId id="601"/>
            <p14:sldId id="602"/>
            <p14:sldId id="603"/>
            <p14:sldId id="605"/>
            <p14:sldId id="266"/>
          </p14:sldIdLst>
        </p14:section>
      </p14:sectionLst>
    </p:ext>
    <p:ext uri="{EFAFB233-063F-42B5-8137-9DF3F51BA10A}">
      <p15:sldGuideLst xmlns:p15="http://schemas.microsoft.com/office/powerpoint/2012/main">
        <p15:guide id="1" pos="3817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lideFormation.com" initials="SF" lastIdx="2" clrIdx="0">
    <p:extLst>
      <p:ext uri="{19B8F6BF-5375-455C-9EA6-DF929625EA0E}">
        <p15:presenceInfo xmlns:p15="http://schemas.microsoft.com/office/powerpoint/2012/main" userId="SlideFormation.co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20"/>
    <a:srgbClr val="393939"/>
    <a:srgbClr val="2DAA5A"/>
    <a:srgbClr val="F0F0F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F405C7-CDCB-4165-91CB-79F00C7648D2}" v="68" dt="2023-06-15T10:14:44.4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 pos="3817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microsoft.com/office/2015/10/relationships/revisionInfo" Target="revisionInfo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zmidt Mateusz" userId="65a76720-5d68-4247-bfbb-4498149d5e6c" providerId="ADAL" clId="{53F405C7-CDCB-4165-91CB-79F00C7648D2}"/>
    <pc:docChg chg="undo redo custSel addSld delSld modSld sldOrd delMainMaster delSection modSection">
      <pc:chgData name="Szmidt Mateusz" userId="65a76720-5d68-4247-bfbb-4498149d5e6c" providerId="ADAL" clId="{53F405C7-CDCB-4165-91CB-79F00C7648D2}" dt="2023-06-15T10:56:23.077" v="4476" actId="47"/>
      <pc:docMkLst>
        <pc:docMk/>
      </pc:docMkLst>
      <pc:sldChg chg="addSp delSp modSp mod">
        <pc:chgData name="Szmidt Mateusz" userId="65a76720-5d68-4247-bfbb-4498149d5e6c" providerId="ADAL" clId="{53F405C7-CDCB-4165-91CB-79F00C7648D2}" dt="2023-06-14T20:30:46.980" v="236" actId="20577"/>
        <pc:sldMkLst>
          <pc:docMk/>
          <pc:sldMk cId="1523019308" sldId="256"/>
        </pc:sldMkLst>
        <pc:spChg chg="add del mod">
          <ac:chgData name="Szmidt Mateusz" userId="65a76720-5d68-4247-bfbb-4498149d5e6c" providerId="ADAL" clId="{53F405C7-CDCB-4165-91CB-79F00C7648D2}" dt="2023-06-14T20:13:27.842" v="91" actId="931"/>
          <ac:spMkLst>
            <pc:docMk/>
            <pc:sldMk cId="1523019308" sldId="256"/>
            <ac:spMk id="4" creationId="{DDE4337F-5AB0-C3B7-A792-85C2C9039039}"/>
          </ac:spMkLst>
        </pc:spChg>
        <pc:spChg chg="mod">
          <ac:chgData name="Szmidt Mateusz" userId="65a76720-5d68-4247-bfbb-4498149d5e6c" providerId="ADAL" clId="{53F405C7-CDCB-4165-91CB-79F00C7648D2}" dt="2023-06-14T20:13:03.761" v="86" actId="1076"/>
          <ac:spMkLst>
            <pc:docMk/>
            <pc:sldMk cId="1523019308" sldId="256"/>
            <ac:spMk id="7" creationId="{C8D3C18C-0A38-4511-9248-CD752F1FE199}"/>
          </ac:spMkLst>
        </pc:spChg>
        <pc:spChg chg="mod">
          <ac:chgData name="Szmidt Mateusz" userId="65a76720-5d68-4247-bfbb-4498149d5e6c" providerId="ADAL" clId="{53F405C7-CDCB-4165-91CB-79F00C7648D2}" dt="2023-06-14T20:13:03.761" v="86" actId="1076"/>
          <ac:spMkLst>
            <pc:docMk/>
            <pc:sldMk cId="1523019308" sldId="256"/>
            <ac:spMk id="8" creationId="{EC849658-9A63-4687-BF80-9B79B15539BB}"/>
          </ac:spMkLst>
        </pc:spChg>
        <pc:spChg chg="mod">
          <ac:chgData name="Szmidt Mateusz" userId="65a76720-5d68-4247-bfbb-4498149d5e6c" providerId="ADAL" clId="{53F405C7-CDCB-4165-91CB-79F00C7648D2}" dt="2023-06-14T20:30:46.980" v="236" actId="20577"/>
          <ac:spMkLst>
            <pc:docMk/>
            <pc:sldMk cId="1523019308" sldId="256"/>
            <ac:spMk id="15" creationId="{CC42BDE7-FFAC-4BF7-B5EC-27930FC825B7}"/>
          </ac:spMkLst>
        </pc:spChg>
        <pc:spChg chg="mod">
          <ac:chgData name="Szmidt Mateusz" userId="65a76720-5d68-4247-bfbb-4498149d5e6c" providerId="ADAL" clId="{53F405C7-CDCB-4165-91CB-79F00C7648D2}" dt="2023-06-14T20:13:03.761" v="86" actId="1076"/>
          <ac:spMkLst>
            <pc:docMk/>
            <pc:sldMk cId="1523019308" sldId="256"/>
            <ac:spMk id="16" creationId="{6D2B4232-483E-403E-A858-9560B28CC51D}"/>
          </ac:spMkLst>
        </pc:spChg>
        <pc:picChg chg="add del mod">
          <ac:chgData name="Szmidt Mateusz" userId="65a76720-5d68-4247-bfbb-4498149d5e6c" providerId="ADAL" clId="{53F405C7-CDCB-4165-91CB-79F00C7648D2}" dt="2023-06-14T20:13:19.984" v="90" actId="21"/>
          <ac:picMkLst>
            <pc:docMk/>
            <pc:sldMk cId="1523019308" sldId="256"/>
            <ac:picMk id="6" creationId="{BB2C2AE5-EF3E-4BF7-0C4B-53A9650A5E76}"/>
          </ac:picMkLst>
        </pc:picChg>
        <pc:picChg chg="add mod ord">
          <ac:chgData name="Szmidt Mateusz" userId="65a76720-5d68-4247-bfbb-4498149d5e6c" providerId="ADAL" clId="{53F405C7-CDCB-4165-91CB-79F00C7648D2}" dt="2023-06-14T20:15:35.598" v="95" actId="167"/>
          <ac:picMkLst>
            <pc:docMk/>
            <pc:sldMk cId="1523019308" sldId="256"/>
            <ac:picMk id="10" creationId="{58181675-55E7-1A9D-6AA8-D52CF194C40C}"/>
          </ac:picMkLst>
        </pc:picChg>
        <pc:picChg chg="add mod">
          <ac:chgData name="Szmidt Mateusz" userId="65a76720-5d68-4247-bfbb-4498149d5e6c" providerId="ADAL" clId="{53F405C7-CDCB-4165-91CB-79F00C7648D2}" dt="2023-06-14T20:27:58.783" v="190" actId="1076"/>
          <ac:picMkLst>
            <pc:docMk/>
            <pc:sldMk cId="1523019308" sldId="256"/>
            <ac:picMk id="12" creationId="{CED71898-535B-DA33-8D71-376D4E642E9B}"/>
          </ac:picMkLst>
        </pc:picChg>
        <pc:picChg chg="add mod">
          <ac:chgData name="Szmidt Mateusz" userId="65a76720-5d68-4247-bfbb-4498149d5e6c" providerId="ADAL" clId="{53F405C7-CDCB-4165-91CB-79F00C7648D2}" dt="2023-06-14T20:27:58.783" v="190" actId="1076"/>
          <ac:picMkLst>
            <pc:docMk/>
            <pc:sldMk cId="1523019308" sldId="256"/>
            <ac:picMk id="14" creationId="{8B0EEF8F-619A-9FBD-4717-04ADE420B2CC}"/>
          </ac:picMkLst>
        </pc:picChg>
        <pc:picChg chg="del">
          <ac:chgData name="Szmidt Mateusz" userId="65a76720-5d68-4247-bfbb-4498149d5e6c" providerId="ADAL" clId="{53F405C7-CDCB-4165-91CB-79F00C7648D2}" dt="2023-06-14T20:12:38.379" v="78" actId="478"/>
          <ac:picMkLst>
            <pc:docMk/>
            <pc:sldMk cId="1523019308" sldId="256"/>
            <ac:picMk id="19" creationId="{0A5B4E98-E713-49B5-A75C-9F096FF2F455}"/>
          </ac:picMkLst>
        </pc:picChg>
      </pc:sldChg>
      <pc:sldChg chg="del">
        <pc:chgData name="Szmidt Mateusz" userId="65a76720-5d68-4247-bfbb-4498149d5e6c" providerId="ADAL" clId="{53F405C7-CDCB-4165-91CB-79F00C7648D2}" dt="2023-06-14T20:22:10.323" v="154" actId="47"/>
        <pc:sldMkLst>
          <pc:docMk/>
          <pc:sldMk cId="3043115726" sldId="262"/>
        </pc:sldMkLst>
      </pc:sldChg>
      <pc:sldChg chg="addSp delSp modSp mod">
        <pc:chgData name="Szmidt Mateusz" userId="65a76720-5d68-4247-bfbb-4498149d5e6c" providerId="ADAL" clId="{53F405C7-CDCB-4165-91CB-79F00C7648D2}" dt="2023-06-15T08:23:46.220" v="1776"/>
        <pc:sldMkLst>
          <pc:docMk/>
          <pc:sldMk cId="2419594125" sldId="266"/>
        </pc:sldMkLst>
        <pc:spChg chg="del mod">
          <ac:chgData name="Szmidt Mateusz" userId="65a76720-5d68-4247-bfbb-4498149d5e6c" providerId="ADAL" clId="{53F405C7-CDCB-4165-91CB-79F00C7648D2}" dt="2023-06-14T22:51:15.538" v="1485" actId="478"/>
          <ac:spMkLst>
            <pc:docMk/>
            <pc:sldMk cId="2419594125" sldId="266"/>
            <ac:spMk id="5" creationId="{7707A921-7F7A-40D6-B478-D13DE126928E}"/>
          </ac:spMkLst>
        </pc:spChg>
        <pc:spChg chg="add del mod">
          <ac:chgData name="Szmidt Mateusz" userId="65a76720-5d68-4247-bfbb-4498149d5e6c" providerId="ADAL" clId="{53F405C7-CDCB-4165-91CB-79F00C7648D2}" dt="2023-06-14T22:58:32.677" v="1678" actId="478"/>
          <ac:spMkLst>
            <pc:docMk/>
            <pc:sldMk cId="2419594125" sldId="266"/>
            <ac:spMk id="6" creationId="{1837DC7A-5158-7BBA-BE63-775D32B03F9F}"/>
          </ac:spMkLst>
        </pc:spChg>
        <pc:spChg chg="add del mod">
          <ac:chgData name="Szmidt Mateusz" userId="65a76720-5d68-4247-bfbb-4498149d5e6c" providerId="ADAL" clId="{53F405C7-CDCB-4165-91CB-79F00C7648D2}" dt="2023-06-14T22:55:18.264" v="1565" actId="478"/>
          <ac:spMkLst>
            <pc:docMk/>
            <pc:sldMk cId="2419594125" sldId="266"/>
            <ac:spMk id="7" creationId="{65AFE692-B56E-A0E8-9CAB-3F8A4231880C}"/>
          </ac:spMkLst>
        </pc:spChg>
        <pc:spChg chg="add del mod">
          <ac:chgData name="Szmidt Mateusz" userId="65a76720-5d68-4247-bfbb-4498149d5e6c" providerId="ADAL" clId="{53F405C7-CDCB-4165-91CB-79F00C7648D2}" dt="2023-06-14T22:57:58.428" v="1673" actId="478"/>
          <ac:spMkLst>
            <pc:docMk/>
            <pc:sldMk cId="2419594125" sldId="266"/>
            <ac:spMk id="8" creationId="{DA18F278-3A21-347F-D1D8-D49CB2160424}"/>
          </ac:spMkLst>
        </pc:spChg>
        <pc:spChg chg="add del mod">
          <ac:chgData name="Szmidt Mateusz" userId="65a76720-5d68-4247-bfbb-4498149d5e6c" providerId="ADAL" clId="{53F405C7-CDCB-4165-91CB-79F00C7648D2}" dt="2023-06-14T22:58:02.085" v="1675" actId="478"/>
          <ac:spMkLst>
            <pc:docMk/>
            <pc:sldMk cId="2419594125" sldId="266"/>
            <ac:spMk id="9" creationId="{3A1FDDD0-6668-FD3F-6F65-199C69CFEAC3}"/>
          </ac:spMkLst>
        </pc:spChg>
        <pc:spChg chg="add mod">
          <ac:chgData name="Szmidt Mateusz" userId="65a76720-5d68-4247-bfbb-4498149d5e6c" providerId="ADAL" clId="{53F405C7-CDCB-4165-91CB-79F00C7648D2}" dt="2023-06-15T08:23:46.220" v="1776"/>
          <ac:spMkLst>
            <pc:docMk/>
            <pc:sldMk cId="2419594125" sldId="266"/>
            <ac:spMk id="10" creationId="{4091F4A9-35BA-31EE-F722-995131185631}"/>
          </ac:spMkLst>
        </pc:spChg>
        <pc:spChg chg="add del mod">
          <ac:chgData name="Szmidt Mateusz" userId="65a76720-5d68-4247-bfbb-4498149d5e6c" providerId="ADAL" clId="{53F405C7-CDCB-4165-91CB-79F00C7648D2}" dt="2023-06-14T23:01:40.452" v="1731"/>
          <ac:spMkLst>
            <pc:docMk/>
            <pc:sldMk cId="2419594125" sldId="266"/>
            <ac:spMk id="14" creationId="{1BA2BCB0-D28D-2565-E0FF-393CB7F5EA42}"/>
          </ac:spMkLst>
        </pc:spChg>
        <pc:spChg chg="add mod">
          <ac:chgData name="Szmidt Mateusz" userId="65a76720-5d68-4247-bfbb-4498149d5e6c" providerId="ADAL" clId="{53F405C7-CDCB-4165-91CB-79F00C7648D2}" dt="2023-06-15T08:23:30.371" v="1773" actId="1076"/>
          <ac:spMkLst>
            <pc:docMk/>
            <pc:sldMk cId="2419594125" sldId="266"/>
            <ac:spMk id="16" creationId="{B0A34E9F-0779-42C4-097C-8EA4C4C48860}"/>
          </ac:spMkLst>
        </pc:spChg>
        <pc:spChg chg="add mod">
          <ac:chgData name="Szmidt Mateusz" userId="65a76720-5d68-4247-bfbb-4498149d5e6c" providerId="ADAL" clId="{53F405C7-CDCB-4165-91CB-79F00C7648D2}" dt="2023-06-15T08:23:34.433" v="1774" actId="1076"/>
          <ac:spMkLst>
            <pc:docMk/>
            <pc:sldMk cId="2419594125" sldId="266"/>
            <ac:spMk id="17" creationId="{3BECBE5A-27C6-04AD-8452-CBFF1BB5C1DB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47" creationId="{25135662-FC8F-45D7-8A12-CF31A4065F02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50" creationId="{CD8EE983-89EC-49B3-B4C5-B36CFB067D92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51" creationId="{9AB1D62A-0743-4742-8B34-87EC76EF29E7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52" creationId="{58DFDE3F-24D1-4986-A6B7-2F66533B067C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53" creationId="{6581137A-6B33-4303-BCFA-65D9615DDC1B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54" creationId="{D70C51E2-2324-40C1-8374-A6300001138B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55" creationId="{2076B3DB-D56C-463F-AD8B-71EAB1E2CA4B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57" creationId="{F48648F8-72BA-4C96-8939-93AC5874EFC9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58" creationId="{A95C0A40-0C0B-439B-969A-A8DD48C54386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59" creationId="{0037A242-753D-4358-903C-8DC5E806C142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60" creationId="{FB124705-E2B0-49C0-8EA5-8CEF992571B0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61" creationId="{29DB0390-FFD8-4415-B882-3CC05B290993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62" creationId="{B7851C51-AA27-4EA6-BA96-59C2B1CF28CC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64" creationId="{FF849F18-184D-4778-A416-03D870521CBC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65" creationId="{9B7F7BFC-15DB-4789-84A1-296CF7176A79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66" creationId="{70A22517-58D7-473F-8F71-6B420DBE858F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67" creationId="{B63743DE-C41C-4018-8BA0-215D7E1B7B30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68" creationId="{76E9BC0F-52CC-49B7-8A10-F390A7967904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69" creationId="{60E54607-E287-4C8A-BCB9-FB527DBD5E5F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71" creationId="{D5DAA0BA-80A1-4EE9-9DC8-8A1E1A378859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72" creationId="{CD1824B9-AD32-46B4-80A7-3FD455F78717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78" creationId="{3B639D30-09F6-4ECB-8796-F61AFAFD1CB5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93" creationId="{D3946B9E-5043-444F-9B1B-799DC9C2CC6C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99" creationId="{01D254C2-C6E6-4C28-88B4-3BDB612C864E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105" creationId="{3C3F1B3E-6D03-4CB2-A28C-D5A367B2D946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107" creationId="{795D90AC-994A-43B3-96F5-A568A6884E35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108" creationId="{5DEA6CC1-A98C-4D82-AA85-89C9072D0B08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109" creationId="{2EEECDB8-53A8-42DB-97E5-73034EE6064F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111" creationId="{7E144C7D-3AA0-4384-9076-006448CB733C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112" creationId="{D5EE68A7-E8B2-4F53-A23B-D5CFE6C5AF93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116" creationId="{E5174C0C-2D44-4BD8-B283-4FF77407B823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117" creationId="{A8571EF6-A4C9-4273-9C26-405BBD40884E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118" creationId="{3E04DF2E-CC89-46E5-BB74-BA761DAB3CAE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120" creationId="{BDD36C57-90D5-4A93-8B1C-04109F7B97B5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121" creationId="{2B18FF23-0A1B-4046-A5AD-555791DA7820}"/>
          </ac:spMkLst>
        </pc:spChg>
        <pc:spChg chg="del">
          <ac:chgData name="Szmidt Mateusz" userId="65a76720-5d68-4247-bfbb-4498149d5e6c" providerId="ADAL" clId="{53F405C7-CDCB-4165-91CB-79F00C7648D2}" dt="2023-06-14T22:53:44.297" v="1523" actId="478"/>
          <ac:spMkLst>
            <pc:docMk/>
            <pc:sldMk cId="2419594125" sldId="266"/>
            <ac:spMk id="122" creationId="{362B4911-7815-492B-A72B-2AEB2EBF2B1A}"/>
          </ac:spMkLst>
        </pc:spChg>
        <pc:picChg chg="add mod">
          <ac:chgData name="Szmidt Mateusz" userId="65a76720-5d68-4247-bfbb-4498149d5e6c" providerId="ADAL" clId="{53F405C7-CDCB-4165-91CB-79F00C7648D2}" dt="2023-06-14T22:58:44.026" v="1679" actId="1076"/>
          <ac:picMkLst>
            <pc:docMk/>
            <pc:sldMk cId="2419594125" sldId="266"/>
            <ac:picMk id="11" creationId="{96E88087-BEE9-6357-9361-4A34D399D76A}"/>
          </ac:picMkLst>
        </pc:picChg>
        <pc:picChg chg="add mod">
          <ac:chgData name="Szmidt Mateusz" userId="65a76720-5d68-4247-bfbb-4498149d5e6c" providerId="ADAL" clId="{53F405C7-CDCB-4165-91CB-79F00C7648D2}" dt="2023-06-14T22:58:44.026" v="1679" actId="1076"/>
          <ac:picMkLst>
            <pc:docMk/>
            <pc:sldMk cId="2419594125" sldId="266"/>
            <ac:picMk id="12" creationId="{8AFD9709-563D-25D0-E4F0-5B2AC7168083}"/>
          </ac:picMkLst>
        </pc:picChg>
      </pc:sldChg>
      <pc:sldChg chg="addSp delSp modSp del mod">
        <pc:chgData name="Szmidt Mateusz" userId="65a76720-5d68-4247-bfbb-4498149d5e6c" providerId="ADAL" clId="{53F405C7-CDCB-4165-91CB-79F00C7648D2}" dt="2023-06-14T20:28:10.166" v="191" actId="47"/>
        <pc:sldMkLst>
          <pc:docMk/>
          <pc:sldMk cId="2069219685" sldId="267"/>
        </pc:sldMkLst>
        <pc:spChg chg="mod">
          <ac:chgData name="Szmidt Mateusz" userId="65a76720-5d68-4247-bfbb-4498149d5e6c" providerId="ADAL" clId="{53F405C7-CDCB-4165-91CB-79F00C7648D2}" dt="2023-06-14T20:22:51.197" v="166" actId="20577"/>
          <ac:spMkLst>
            <pc:docMk/>
            <pc:sldMk cId="2069219685" sldId="267"/>
            <ac:spMk id="18" creationId="{0250DA4A-6094-46B4-BDBE-D85CC4AA279F}"/>
          </ac:spMkLst>
        </pc:spChg>
        <pc:picChg chg="add del mod">
          <ac:chgData name="Szmidt Mateusz" userId="65a76720-5d68-4247-bfbb-4498149d5e6c" providerId="ADAL" clId="{53F405C7-CDCB-4165-91CB-79F00C7648D2}" dt="2023-06-14T20:21:52.697" v="153" actId="478"/>
          <ac:picMkLst>
            <pc:docMk/>
            <pc:sldMk cId="2069219685" sldId="267"/>
            <ac:picMk id="3" creationId="{CCD72374-6709-DDC3-AD01-CB7428F7A05D}"/>
          </ac:picMkLst>
        </pc:picChg>
        <pc:picChg chg="add mod">
          <ac:chgData name="Szmidt Mateusz" userId="65a76720-5d68-4247-bfbb-4498149d5e6c" providerId="ADAL" clId="{53F405C7-CDCB-4165-91CB-79F00C7648D2}" dt="2023-06-14T20:24:57.640" v="168" actId="1076"/>
          <ac:picMkLst>
            <pc:docMk/>
            <pc:sldMk cId="2069219685" sldId="267"/>
            <ac:picMk id="4" creationId="{55A8808C-73F6-2E96-EF62-6C47501FED3D}"/>
          </ac:picMkLst>
        </pc:picChg>
        <pc:picChg chg="add mod">
          <ac:chgData name="Szmidt Mateusz" userId="65a76720-5d68-4247-bfbb-4498149d5e6c" providerId="ADAL" clId="{53F405C7-CDCB-4165-91CB-79F00C7648D2}" dt="2023-06-14T20:24:57.640" v="168" actId="1076"/>
          <ac:picMkLst>
            <pc:docMk/>
            <pc:sldMk cId="2069219685" sldId="267"/>
            <ac:picMk id="8" creationId="{BE06EAEA-06FA-B581-C5E8-B49A4A7AC27D}"/>
          </ac:picMkLst>
        </pc:picChg>
      </pc:sldChg>
      <pc:sldChg chg="del">
        <pc:chgData name="Szmidt Mateusz" userId="65a76720-5d68-4247-bfbb-4498149d5e6c" providerId="ADAL" clId="{53F405C7-CDCB-4165-91CB-79F00C7648D2}" dt="2023-06-14T22:51:05.579" v="1482" actId="47"/>
        <pc:sldMkLst>
          <pc:docMk/>
          <pc:sldMk cId="1839501964" sldId="298"/>
        </pc:sldMkLst>
      </pc:sldChg>
      <pc:sldChg chg="add del ord">
        <pc:chgData name="Szmidt Mateusz" userId="65a76720-5d68-4247-bfbb-4498149d5e6c" providerId="ADAL" clId="{53F405C7-CDCB-4165-91CB-79F00C7648D2}" dt="2023-06-14T22:59:39.759" v="1693" actId="47"/>
        <pc:sldMkLst>
          <pc:docMk/>
          <pc:sldMk cId="0" sldId="311"/>
        </pc:sldMkLst>
      </pc:sldChg>
      <pc:sldChg chg="del">
        <pc:chgData name="Szmidt Mateusz" userId="65a76720-5d68-4247-bfbb-4498149d5e6c" providerId="ADAL" clId="{53F405C7-CDCB-4165-91CB-79F00C7648D2}" dt="2023-06-14T23:02:58.332" v="1760" actId="47"/>
        <pc:sldMkLst>
          <pc:docMk/>
          <pc:sldMk cId="3517709156" sldId="327"/>
        </pc:sldMkLst>
      </pc:sldChg>
      <pc:sldChg chg="del">
        <pc:chgData name="Szmidt Mateusz" userId="65a76720-5d68-4247-bfbb-4498149d5e6c" providerId="ADAL" clId="{53F405C7-CDCB-4165-91CB-79F00C7648D2}" dt="2023-06-14T23:03:01.414" v="1761" actId="47"/>
        <pc:sldMkLst>
          <pc:docMk/>
          <pc:sldMk cId="2906488998" sldId="478"/>
        </pc:sldMkLst>
      </pc:sldChg>
      <pc:sldChg chg="del">
        <pc:chgData name="Szmidt Mateusz" userId="65a76720-5d68-4247-bfbb-4498149d5e6c" providerId="ADAL" clId="{53F405C7-CDCB-4165-91CB-79F00C7648D2}" dt="2023-06-14T22:49:31.363" v="1445" actId="47"/>
        <pc:sldMkLst>
          <pc:docMk/>
          <pc:sldMk cId="2903662633" sldId="479"/>
        </pc:sldMkLst>
      </pc:sldChg>
      <pc:sldChg chg="del">
        <pc:chgData name="Szmidt Mateusz" userId="65a76720-5d68-4247-bfbb-4498149d5e6c" providerId="ADAL" clId="{53F405C7-CDCB-4165-91CB-79F00C7648D2}" dt="2023-06-14T22:51:41.834" v="1488" actId="47"/>
        <pc:sldMkLst>
          <pc:docMk/>
          <pc:sldMk cId="1071260619" sldId="481"/>
        </pc:sldMkLst>
      </pc:sldChg>
      <pc:sldChg chg="add del">
        <pc:chgData name="Szmidt Mateusz" userId="65a76720-5d68-4247-bfbb-4498149d5e6c" providerId="ADAL" clId="{53F405C7-CDCB-4165-91CB-79F00C7648D2}" dt="2023-06-14T22:59:38.752" v="1692" actId="47"/>
        <pc:sldMkLst>
          <pc:docMk/>
          <pc:sldMk cId="2517150921" sldId="483"/>
        </pc:sldMkLst>
      </pc:sldChg>
      <pc:sldChg chg="add del">
        <pc:chgData name="Szmidt Mateusz" userId="65a76720-5d68-4247-bfbb-4498149d5e6c" providerId="ADAL" clId="{53F405C7-CDCB-4165-91CB-79F00C7648D2}" dt="2023-06-14T22:51:03.091" v="1473" actId="47"/>
        <pc:sldMkLst>
          <pc:docMk/>
          <pc:sldMk cId="2164620903" sldId="497"/>
        </pc:sldMkLst>
      </pc:sldChg>
      <pc:sldChg chg="del">
        <pc:chgData name="Szmidt Mateusz" userId="65a76720-5d68-4247-bfbb-4498149d5e6c" providerId="ADAL" clId="{53F405C7-CDCB-4165-91CB-79F00C7648D2}" dt="2023-06-14T23:02:58.332" v="1760" actId="47"/>
        <pc:sldMkLst>
          <pc:docMk/>
          <pc:sldMk cId="694624115" sldId="498"/>
        </pc:sldMkLst>
      </pc:sldChg>
      <pc:sldChg chg="add del">
        <pc:chgData name="Szmidt Mateusz" userId="65a76720-5d68-4247-bfbb-4498149d5e6c" providerId="ADAL" clId="{53F405C7-CDCB-4165-91CB-79F00C7648D2}" dt="2023-06-14T22:51:03.725" v="1474" actId="47"/>
        <pc:sldMkLst>
          <pc:docMk/>
          <pc:sldMk cId="463455971" sldId="506"/>
        </pc:sldMkLst>
      </pc:sldChg>
      <pc:sldChg chg="del">
        <pc:chgData name="Szmidt Mateusz" userId="65a76720-5d68-4247-bfbb-4498149d5e6c" providerId="ADAL" clId="{53F405C7-CDCB-4165-91CB-79F00C7648D2}" dt="2023-06-14T22:51:04.022" v="1476" actId="47"/>
        <pc:sldMkLst>
          <pc:docMk/>
          <pc:sldMk cId="1317150334" sldId="507"/>
        </pc:sldMkLst>
      </pc:sldChg>
      <pc:sldChg chg="del">
        <pc:chgData name="Szmidt Mateusz" userId="65a76720-5d68-4247-bfbb-4498149d5e6c" providerId="ADAL" clId="{53F405C7-CDCB-4165-91CB-79F00C7648D2}" dt="2023-06-14T22:51:03.875" v="1475" actId="47"/>
        <pc:sldMkLst>
          <pc:docMk/>
          <pc:sldMk cId="3864576919" sldId="508"/>
        </pc:sldMkLst>
      </pc:sldChg>
      <pc:sldChg chg="del">
        <pc:chgData name="Szmidt Mateusz" userId="65a76720-5d68-4247-bfbb-4498149d5e6c" providerId="ADAL" clId="{53F405C7-CDCB-4165-91CB-79F00C7648D2}" dt="2023-06-14T22:51:04.161" v="1477" actId="47"/>
        <pc:sldMkLst>
          <pc:docMk/>
          <pc:sldMk cId="243988733" sldId="509"/>
        </pc:sldMkLst>
      </pc:sldChg>
      <pc:sldChg chg="del">
        <pc:chgData name="Szmidt Mateusz" userId="65a76720-5d68-4247-bfbb-4498149d5e6c" providerId="ADAL" clId="{53F405C7-CDCB-4165-91CB-79F00C7648D2}" dt="2023-06-14T22:51:04.352" v="1478" actId="47"/>
        <pc:sldMkLst>
          <pc:docMk/>
          <pc:sldMk cId="2638812091" sldId="515"/>
        </pc:sldMkLst>
      </pc:sldChg>
      <pc:sldChg chg="del">
        <pc:chgData name="Szmidt Mateusz" userId="65a76720-5d68-4247-bfbb-4498149d5e6c" providerId="ADAL" clId="{53F405C7-CDCB-4165-91CB-79F00C7648D2}" dt="2023-06-14T20:09:13.945" v="14" actId="47"/>
        <pc:sldMkLst>
          <pc:docMk/>
          <pc:sldMk cId="1700665495" sldId="516"/>
        </pc:sldMkLst>
      </pc:sldChg>
      <pc:sldChg chg="del">
        <pc:chgData name="Szmidt Mateusz" userId="65a76720-5d68-4247-bfbb-4498149d5e6c" providerId="ADAL" clId="{53F405C7-CDCB-4165-91CB-79F00C7648D2}" dt="2023-06-14T22:51:05.419" v="1481" actId="47"/>
        <pc:sldMkLst>
          <pc:docMk/>
          <pc:sldMk cId="2240100969" sldId="517"/>
        </pc:sldMkLst>
      </pc:sldChg>
      <pc:sldChg chg="del">
        <pc:chgData name="Szmidt Mateusz" userId="65a76720-5d68-4247-bfbb-4498149d5e6c" providerId="ADAL" clId="{53F405C7-CDCB-4165-91CB-79F00C7648D2}" dt="2023-06-14T22:51:01.679" v="1469" actId="47"/>
        <pc:sldMkLst>
          <pc:docMk/>
          <pc:sldMk cId="1949474975" sldId="518"/>
        </pc:sldMkLst>
      </pc:sldChg>
      <pc:sldChg chg="add del">
        <pc:chgData name="Szmidt Mateusz" userId="65a76720-5d68-4247-bfbb-4498149d5e6c" providerId="ADAL" clId="{53F405C7-CDCB-4165-91CB-79F00C7648D2}" dt="2023-06-14T22:51:02.161" v="1470" actId="47"/>
        <pc:sldMkLst>
          <pc:docMk/>
          <pc:sldMk cId="3630293894" sldId="519"/>
        </pc:sldMkLst>
      </pc:sldChg>
      <pc:sldChg chg="add del">
        <pc:chgData name="Szmidt Mateusz" userId="65a76720-5d68-4247-bfbb-4498149d5e6c" providerId="ADAL" clId="{53F405C7-CDCB-4165-91CB-79F00C7648D2}" dt="2023-06-14T22:51:02.416" v="1471" actId="47"/>
        <pc:sldMkLst>
          <pc:docMk/>
          <pc:sldMk cId="2668933954" sldId="520"/>
        </pc:sldMkLst>
      </pc:sldChg>
      <pc:sldChg chg="add del">
        <pc:chgData name="Szmidt Mateusz" userId="65a76720-5d68-4247-bfbb-4498149d5e6c" providerId="ADAL" clId="{53F405C7-CDCB-4165-91CB-79F00C7648D2}" dt="2023-06-14T22:51:02.636" v="1472" actId="47"/>
        <pc:sldMkLst>
          <pc:docMk/>
          <pc:sldMk cId="1403315048" sldId="521"/>
        </pc:sldMkLst>
      </pc:sldChg>
      <pc:sldChg chg="del">
        <pc:chgData name="Szmidt Mateusz" userId="65a76720-5d68-4247-bfbb-4498149d5e6c" providerId="ADAL" clId="{53F405C7-CDCB-4165-91CB-79F00C7648D2}" dt="2023-06-14T20:09:05.852" v="0" actId="47"/>
        <pc:sldMkLst>
          <pc:docMk/>
          <pc:sldMk cId="3152605041" sldId="525"/>
        </pc:sldMkLst>
      </pc:sldChg>
      <pc:sldChg chg="del">
        <pc:chgData name="Szmidt Mateusz" userId="65a76720-5d68-4247-bfbb-4498149d5e6c" providerId="ADAL" clId="{53F405C7-CDCB-4165-91CB-79F00C7648D2}" dt="2023-06-14T22:51:05.267" v="1480" actId="47"/>
        <pc:sldMkLst>
          <pc:docMk/>
          <pc:sldMk cId="3122503978" sldId="526"/>
        </pc:sldMkLst>
      </pc:sldChg>
      <pc:sldChg chg="del">
        <pc:chgData name="Szmidt Mateusz" userId="65a76720-5d68-4247-bfbb-4498149d5e6c" providerId="ADAL" clId="{53F405C7-CDCB-4165-91CB-79F00C7648D2}" dt="2023-06-14T22:49:27.227" v="1436" actId="47"/>
        <pc:sldMkLst>
          <pc:docMk/>
          <pc:sldMk cId="675689210" sldId="534"/>
        </pc:sldMkLst>
      </pc:sldChg>
      <pc:sldChg chg="del">
        <pc:chgData name="Szmidt Mateusz" userId="65a76720-5d68-4247-bfbb-4498149d5e6c" providerId="ADAL" clId="{53F405C7-CDCB-4165-91CB-79F00C7648D2}" dt="2023-06-14T22:51:00.671" v="1468" actId="47"/>
        <pc:sldMkLst>
          <pc:docMk/>
          <pc:sldMk cId="3791630405" sldId="546"/>
        </pc:sldMkLst>
      </pc:sldChg>
      <pc:sldChg chg="del">
        <pc:chgData name="Szmidt Mateusz" userId="65a76720-5d68-4247-bfbb-4498149d5e6c" providerId="ADAL" clId="{53F405C7-CDCB-4165-91CB-79F00C7648D2}" dt="2023-06-14T23:02:58.332" v="1760" actId="47"/>
        <pc:sldMkLst>
          <pc:docMk/>
          <pc:sldMk cId="3197609315" sldId="547"/>
        </pc:sldMkLst>
      </pc:sldChg>
      <pc:sldChg chg="del">
        <pc:chgData name="Szmidt Mateusz" userId="65a76720-5d68-4247-bfbb-4498149d5e6c" providerId="ADAL" clId="{53F405C7-CDCB-4165-91CB-79F00C7648D2}" dt="2023-06-14T23:02:58.332" v="1760" actId="47"/>
        <pc:sldMkLst>
          <pc:docMk/>
          <pc:sldMk cId="329201818" sldId="549"/>
        </pc:sldMkLst>
      </pc:sldChg>
      <pc:sldChg chg="del">
        <pc:chgData name="Szmidt Mateusz" userId="65a76720-5d68-4247-bfbb-4498149d5e6c" providerId="ADAL" clId="{53F405C7-CDCB-4165-91CB-79F00C7648D2}" dt="2023-06-14T20:10:16.503" v="29" actId="47"/>
        <pc:sldMkLst>
          <pc:docMk/>
          <pc:sldMk cId="95642551" sldId="550"/>
        </pc:sldMkLst>
      </pc:sldChg>
      <pc:sldChg chg="del">
        <pc:chgData name="Szmidt Mateusz" userId="65a76720-5d68-4247-bfbb-4498149d5e6c" providerId="ADAL" clId="{53F405C7-CDCB-4165-91CB-79F00C7648D2}" dt="2023-06-14T23:02:58.332" v="1760" actId="47"/>
        <pc:sldMkLst>
          <pc:docMk/>
          <pc:sldMk cId="4163633205" sldId="551"/>
        </pc:sldMkLst>
      </pc:sldChg>
      <pc:sldChg chg="del">
        <pc:chgData name="Szmidt Mateusz" userId="65a76720-5d68-4247-bfbb-4498149d5e6c" providerId="ADAL" clId="{53F405C7-CDCB-4165-91CB-79F00C7648D2}" dt="2023-06-14T20:10:16.902" v="30" actId="47"/>
        <pc:sldMkLst>
          <pc:docMk/>
          <pc:sldMk cId="4111555886" sldId="553"/>
        </pc:sldMkLst>
      </pc:sldChg>
      <pc:sldChg chg="del">
        <pc:chgData name="Szmidt Mateusz" userId="65a76720-5d68-4247-bfbb-4498149d5e6c" providerId="ADAL" clId="{53F405C7-CDCB-4165-91CB-79F00C7648D2}" dt="2023-06-14T22:51:05.752" v="1483" actId="47"/>
        <pc:sldMkLst>
          <pc:docMk/>
          <pc:sldMk cId="354710612" sldId="555"/>
        </pc:sldMkLst>
      </pc:sldChg>
      <pc:sldChg chg="del">
        <pc:chgData name="Szmidt Mateusz" userId="65a76720-5d68-4247-bfbb-4498149d5e6c" providerId="ADAL" clId="{53F405C7-CDCB-4165-91CB-79F00C7648D2}" dt="2023-06-14T20:10:17.158" v="31" actId="47"/>
        <pc:sldMkLst>
          <pc:docMk/>
          <pc:sldMk cId="2504164975" sldId="557"/>
        </pc:sldMkLst>
      </pc:sldChg>
      <pc:sldChg chg="del">
        <pc:chgData name="Szmidt Mateusz" userId="65a76720-5d68-4247-bfbb-4498149d5e6c" providerId="ADAL" clId="{53F405C7-CDCB-4165-91CB-79F00C7648D2}" dt="2023-06-14T23:03:01.414" v="1761" actId="47"/>
        <pc:sldMkLst>
          <pc:docMk/>
          <pc:sldMk cId="2741954902" sldId="558"/>
        </pc:sldMkLst>
      </pc:sldChg>
      <pc:sldChg chg="del">
        <pc:chgData name="Szmidt Mateusz" userId="65a76720-5d68-4247-bfbb-4498149d5e6c" providerId="ADAL" clId="{53F405C7-CDCB-4165-91CB-79F00C7648D2}" dt="2023-06-14T22:51:04.894" v="1479" actId="47"/>
        <pc:sldMkLst>
          <pc:docMk/>
          <pc:sldMk cId="552129968" sldId="561"/>
        </pc:sldMkLst>
      </pc:sldChg>
      <pc:sldChg chg="del">
        <pc:chgData name="Szmidt Mateusz" userId="65a76720-5d68-4247-bfbb-4498149d5e6c" providerId="ADAL" clId="{53F405C7-CDCB-4165-91CB-79F00C7648D2}" dt="2023-06-14T20:09:07.014" v="4" actId="47"/>
        <pc:sldMkLst>
          <pc:docMk/>
          <pc:sldMk cId="12784170" sldId="563"/>
        </pc:sldMkLst>
      </pc:sldChg>
      <pc:sldChg chg="del">
        <pc:chgData name="Szmidt Mateusz" userId="65a76720-5d68-4247-bfbb-4498149d5e6c" providerId="ADAL" clId="{53F405C7-CDCB-4165-91CB-79F00C7648D2}" dt="2023-06-14T22:51:05.870" v="1484" actId="47"/>
        <pc:sldMkLst>
          <pc:docMk/>
          <pc:sldMk cId="1454391315" sldId="566"/>
        </pc:sldMkLst>
      </pc:sldChg>
      <pc:sldChg chg="del">
        <pc:chgData name="Szmidt Mateusz" userId="65a76720-5d68-4247-bfbb-4498149d5e6c" providerId="ADAL" clId="{53F405C7-CDCB-4165-91CB-79F00C7648D2}" dt="2023-06-14T20:09:11.035" v="11" actId="47"/>
        <pc:sldMkLst>
          <pc:docMk/>
          <pc:sldMk cId="4084073548" sldId="567"/>
        </pc:sldMkLst>
      </pc:sldChg>
      <pc:sldChg chg="del">
        <pc:chgData name="Szmidt Mateusz" userId="65a76720-5d68-4247-bfbb-4498149d5e6c" providerId="ADAL" clId="{53F405C7-CDCB-4165-91CB-79F00C7648D2}" dt="2023-06-14T20:09:06.028" v="1" actId="47"/>
        <pc:sldMkLst>
          <pc:docMk/>
          <pc:sldMk cId="2687555105" sldId="568"/>
        </pc:sldMkLst>
      </pc:sldChg>
      <pc:sldChg chg="del">
        <pc:chgData name="Szmidt Mateusz" userId="65a76720-5d68-4247-bfbb-4498149d5e6c" providerId="ADAL" clId="{53F405C7-CDCB-4165-91CB-79F00C7648D2}" dt="2023-06-14T20:09:06.364" v="3" actId="47"/>
        <pc:sldMkLst>
          <pc:docMk/>
          <pc:sldMk cId="3621351340" sldId="569"/>
        </pc:sldMkLst>
      </pc:sldChg>
      <pc:sldChg chg="del">
        <pc:chgData name="Szmidt Mateusz" userId="65a76720-5d68-4247-bfbb-4498149d5e6c" providerId="ADAL" clId="{53F405C7-CDCB-4165-91CB-79F00C7648D2}" dt="2023-06-14T20:09:06.203" v="2" actId="47"/>
        <pc:sldMkLst>
          <pc:docMk/>
          <pc:sldMk cId="3325220866" sldId="570"/>
        </pc:sldMkLst>
      </pc:sldChg>
      <pc:sldChg chg="del">
        <pc:chgData name="Szmidt Mateusz" userId="65a76720-5d68-4247-bfbb-4498149d5e6c" providerId="ADAL" clId="{53F405C7-CDCB-4165-91CB-79F00C7648D2}" dt="2023-06-14T20:09:07.460" v="5" actId="47"/>
        <pc:sldMkLst>
          <pc:docMk/>
          <pc:sldMk cId="3809581763" sldId="571"/>
        </pc:sldMkLst>
      </pc:sldChg>
      <pc:sldChg chg="del">
        <pc:chgData name="Szmidt Mateusz" userId="65a76720-5d68-4247-bfbb-4498149d5e6c" providerId="ADAL" clId="{53F405C7-CDCB-4165-91CB-79F00C7648D2}" dt="2023-06-14T20:09:07.664" v="6" actId="47"/>
        <pc:sldMkLst>
          <pc:docMk/>
          <pc:sldMk cId="3179499750" sldId="572"/>
        </pc:sldMkLst>
      </pc:sldChg>
      <pc:sldChg chg="del">
        <pc:chgData name="Szmidt Mateusz" userId="65a76720-5d68-4247-bfbb-4498149d5e6c" providerId="ADAL" clId="{53F405C7-CDCB-4165-91CB-79F00C7648D2}" dt="2023-06-14T20:09:07.814" v="7" actId="47"/>
        <pc:sldMkLst>
          <pc:docMk/>
          <pc:sldMk cId="3003585262" sldId="573"/>
        </pc:sldMkLst>
      </pc:sldChg>
      <pc:sldChg chg="del">
        <pc:chgData name="Szmidt Mateusz" userId="65a76720-5d68-4247-bfbb-4498149d5e6c" providerId="ADAL" clId="{53F405C7-CDCB-4165-91CB-79F00C7648D2}" dt="2023-06-14T20:09:07.979" v="8" actId="47"/>
        <pc:sldMkLst>
          <pc:docMk/>
          <pc:sldMk cId="2330471810" sldId="574"/>
        </pc:sldMkLst>
      </pc:sldChg>
      <pc:sldChg chg="del">
        <pc:chgData name="Szmidt Mateusz" userId="65a76720-5d68-4247-bfbb-4498149d5e6c" providerId="ADAL" clId="{53F405C7-CDCB-4165-91CB-79F00C7648D2}" dt="2023-06-14T22:49:32.300" v="1446" actId="47"/>
        <pc:sldMkLst>
          <pc:docMk/>
          <pc:sldMk cId="1502337709" sldId="575"/>
        </pc:sldMkLst>
      </pc:sldChg>
      <pc:sldChg chg="del">
        <pc:chgData name="Szmidt Mateusz" userId="65a76720-5d68-4247-bfbb-4498149d5e6c" providerId="ADAL" clId="{53F405C7-CDCB-4165-91CB-79F00C7648D2}" dt="2023-06-14T20:09:09.116" v="9" actId="47"/>
        <pc:sldMkLst>
          <pc:docMk/>
          <pc:sldMk cId="344064085" sldId="576"/>
        </pc:sldMkLst>
      </pc:sldChg>
      <pc:sldChg chg="del">
        <pc:chgData name="Szmidt Mateusz" userId="65a76720-5d68-4247-bfbb-4498149d5e6c" providerId="ADAL" clId="{53F405C7-CDCB-4165-91CB-79F00C7648D2}" dt="2023-06-14T22:59:36.945" v="1690" actId="47"/>
        <pc:sldMkLst>
          <pc:docMk/>
          <pc:sldMk cId="769535149" sldId="577"/>
        </pc:sldMkLst>
      </pc:sldChg>
      <pc:sldChg chg="del">
        <pc:chgData name="Szmidt Mateusz" userId="65a76720-5d68-4247-bfbb-4498149d5e6c" providerId="ADAL" clId="{53F405C7-CDCB-4165-91CB-79F00C7648D2}" dt="2023-06-14T20:09:09.888" v="10" actId="47"/>
        <pc:sldMkLst>
          <pc:docMk/>
          <pc:sldMk cId="1871678455" sldId="578"/>
        </pc:sldMkLst>
      </pc:sldChg>
      <pc:sldChg chg="del">
        <pc:chgData name="Szmidt Mateusz" userId="65a76720-5d68-4247-bfbb-4498149d5e6c" providerId="ADAL" clId="{53F405C7-CDCB-4165-91CB-79F00C7648D2}" dt="2023-06-14T22:49:27.777" v="1437" actId="47"/>
        <pc:sldMkLst>
          <pc:docMk/>
          <pc:sldMk cId="1106209962" sldId="579"/>
        </pc:sldMkLst>
      </pc:sldChg>
      <pc:sldChg chg="del">
        <pc:chgData name="Szmidt Mateusz" userId="65a76720-5d68-4247-bfbb-4498149d5e6c" providerId="ADAL" clId="{53F405C7-CDCB-4165-91CB-79F00C7648D2}" dt="2023-06-14T22:49:28.107" v="1438" actId="47"/>
        <pc:sldMkLst>
          <pc:docMk/>
          <pc:sldMk cId="941074097" sldId="580"/>
        </pc:sldMkLst>
      </pc:sldChg>
      <pc:sldChg chg="del">
        <pc:chgData name="Szmidt Mateusz" userId="65a76720-5d68-4247-bfbb-4498149d5e6c" providerId="ADAL" clId="{53F405C7-CDCB-4165-91CB-79F00C7648D2}" dt="2023-06-14T22:49:28.534" v="1439" actId="47"/>
        <pc:sldMkLst>
          <pc:docMk/>
          <pc:sldMk cId="1676086312" sldId="581"/>
        </pc:sldMkLst>
      </pc:sldChg>
      <pc:sldChg chg="del">
        <pc:chgData name="Szmidt Mateusz" userId="65a76720-5d68-4247-bfbb-4498149d5e6c" providerId="ADAL" clId="{53F405C7-CDCB-4165-91CB-79F00C7648D2}" dt="2023-06-14T22:49:28.939" v="1440" actId="47"/>
        <pc:sldMkLst>
          <pc:docMk/>
          <pc:sldMk cId="3072301367" sldId="582"/>
        </pc:sldMkLst>
      </pc:sldChg>
      <pc:sldChg chg="del">
        <pc:chgData name="Szmidt Mateusz" userId="65a76720-5d68-4247-bfbb-4498149d5e6c" providerId="ADAL" clId="{53F405C7-CDCB-4165-91CB-79F00C7648D2}" dt="2023-06-14T22:49:29.235" v="1441" actId="47"/>
        <pc:sldMkLst>
          <pc:docMk/>
          <pc:sldMk cId="435928365" sldId="583"/>
        </pc:sldMkLst>
      </pc:sldChg>
      <pc:sldChg chg="del">
        <pc:chgData name="Szmidt Mateusz" userId="65a76720-5d68-4247-bfbb-4498149d5e6c" providerId="ADAL" clId="{53F405C7-CDCB-4165-91CB-79F00C7648D2}" dt="2023-06-14T22:49:29.475" v="1442" actId="47"/>
        <pc:sldMkLst>
          <pc:docMk/>
          <pc:sldMk cId="2613834191" sldId="584"/>
        </pc:sldMkLst>
      </pc:sldChg>
      <pc:sldChg chg="del">
        <pc:chgData name="Szmidt Mateusz" userId="65a76720-5d68-4247-bfbb-4498149d5e6c" providerId="ADAL" clId="{53F405C7-CDCB-4165-91CB-79F00C7648D2}" dt="2023-06-14T22:49:29.955" v="1443" actId="47"/>
        <pc:sldMkLst>
          <pc:docMk/>
          <pc:sldMk cId="1822183483" sldId="585"/>
        </pc:sldMkLst>
      </pc:sldChg>
      <pc:sldChg chg="del">
        <pc:chgData name="Szmidt Mateusz" userId="65a76720-5d68-4247-bfbb-4498149d5e6c" providerId="ADAL" clId="{53F405C7-CDCB-4165-91CB-79F00C7648D2}" dt="2023-06-14T22:49:30.764" v="1444" actId="47"/>
        <pc:sldMkLst>
          <pc:docMk/>
          <pc:sldMk cId="1971148829" sldId="586"/>
        </pc:sldMkLst>
      </pc:sldChg>
      <pc:sldChg chg="del">
        <pc:chgData name="Szmidt Mateusz" userId="65a76720-5d68-4247-bfbb-4498149d5e6c" providerId="ADAL" clId="{53F405C7-CDCB-4165-91CB-79F00C7648D2}" dt="2023-06-14T22:59:40.073" v="1694" actId="47"/>
        <pc:sldMkLst>
          <pc:docMk/>
          <pc:sldMk cId="3975598263" sldId="587"/>
        </pc:sldMkLst>
      </pc:sldChg>
      <pc:sldChg chg="del">
        <pc:chgData name="Szmidt Mateusz" userId="65a76720-5d68-4247-bfbb-4498149d5e6c" providerId="ADAL" clId="{53F405C7-CDCB-4165-91CB-79F00C7648D2}" dt="2023-06-14T23:02:56.015" v="1759" actId="47"/>
        <pc:sldMkLst>
          <pc:docMk/>
          <pc:sldMk cId="182129367" sldId="588"/>
        </pc:sldMkLst>
      </pc:sldChg>
      <pc:sldChg chg="del">
        <pc:chgData name="Szmidt Mateusz" userId="65a76720-5d68-4247-bfbb-4498149d5e6c" providerId="ADAL" clId="{53F405C7-CDCB-4165-91CB-79F00C7648D2}" dt="2023-06-14T23:02:56.015" v="1759" actId="47"/>
        <pc:sldMkLst>
          <pc:docMk/>
          <pc:sldMk cId="830202820" sldId="589"/>
        </pc:sldMkLst>
      </pc:sldChg>
      <pc:sldChg chg="del">
        <pc:chgData name="Szmidt Mateusz" userId="65a76720-5d68-4247-bfbb-4498149d5e6c" providerId="ADAL" clId="{53F405C7-CDCB-4165-91CB-79F00C7648D2}" dt="2023-06-14T23:02:58.332" v="1760" actId="47"/>
        <pc:sldMkLst>
          <pc:docMk/>
          <pc:sldMk cId="2434154092" sldId="590"/>
        </pc:sldMkLst>
      </pc:sldChg>
      <pc:sldChg chg="del">
        <pc:chgData name="Szmidt Mateusz" userId="65a76720-5d68-4247-bfbb-4498149d5e6c" providerId="ADAL" clId="{53F405C7-CDCB-4165-91CB-79F00C7648D2}" dt="2023-06-14T23:02:58.332" v="1760" actId="47"/>
        <pc:sldMkLst>
          <pc:docMk/>
          <pc:sldMk cId="3979755233" sldId="591"/>
        </pc:sldMkLst>
      </pc:sldChg>
      <pc:sldChg chg="del">
        <pc:chgData name="Szmidt Mateusz" userId="65a76720-5d68-4247-bfbb-4498149d5e6c" providerId="ADAL" clId="{53F405C7-CDCB-4165-91CB-79F00C7648D2}" dt="2023-06-14T22:51:43.344" v="1489" actId="47"/>
        <pc:sldMkLst>
          <pc:docMk/>
          <pc:sldMk cId="790709652" sldId="592"/>
        </pc:sldMkLst>
      </pc:sldChg>
      <pc:sldChg chg="del">
        <pc:chgData name="Szmidt Mateusz" userId="65a76720-5d68-4247-bfbb-4498149d5e6c" providerId="ADAL" clId="{53F405C7-CDCB-4165-91CB-79F00C7648D2}" dt="2023-06-14T22:51:43.570" v="1490" actId="47"/>
        <pc:sldMkLst>
          <pc:docMk/>
          <pc:sldMk cId="1852047643" sldId="593"/>
        </pc:sldMkLst>
      </pc:sldChg>
      <pc:sldChg chg="del">
        <pc:chgData name="Szmidt Mateusz" userId="65a76720-5d68-4247-bfbb-4498149d5e6c" providerId="ADAL" clId="{53F405C7-CDCB-4165-91CB-79F00C7648D2}" dt="2023-06-14T22:51:44.513" v="1491" actId="47"/>
        <pc:sldMkLst>
          <pc:docMk/>
          <pc:sldMk cId="3309058768" sldId="594"/>
        </pc:sldMkLst>
      </pc:sldChg>
      <pc:sldChg chg="del">
        <pc:chgData name="Szmidt Mateusz" userId="65a76720-5d68-4247-bfbb-4498149d5e6c" providerId="ADAL" clId="{53F405C7-CDCB-4165-91CB-79F00C7648D2}" dt="2023-06-14T22:59:37.878" v="1691" actId="47"/>
        <pc:sldMkLst>
          <pc:docMk/>
          <pc:sldMk cId="2936269373" sldId="595"/>
        </pc:sldMkLst>
      </pc:sldChg>
      <pc:sldChg chg="del">
        <pc:chgData name="Szmidt Mateusz" userId="65a76720-5d68-4247-bfbb-4498149d5e6c" providerId="ADAL" clId="{53F405C7-CDCB-4165-91CB-79F00C7648D2}" dt="2023-06-14T20:09:13.145" v="12" actId="47"/>
        <pc:sldMkLst>
          <pc:docMk/>
          <pc:sldMk cId="2401378193" sldId="596"/>
        </pc:sldMkLst>
      </pc:sldChg>
      <pc:sldChg chg="addSp delSp modSp add del mod ord">
        <pc:chgData name="Szmidt Mateusz" userId="65a76720-5d68-4247-bfbb-4498149d5e6c" providerId="ADAL" clId="{53F405C7-CDCB-4165-91CB-79F00C7648D2}" dt="2023-06-15T10:56:23.077" v="4476" actId="47"/>
        <pc:sldMkLst>
          <pc:docMk/>
          <pc:sldMk cId="3806476812" sldId="596"/>
        </pc:sldMkLst>
        <pc:spChg chg="mod">
          <ac:chgData name="Szmidt Mateusz" userId="65a76720-5d68-4247-bfbb-4498149d5e6c" providerId="ADAL" clId="{53F405C7-CDCB-4165-91CB-79F00C7648D2}" dt="2023-06-14T20:47:05.406" v="449" actId="20577"/>
          <ac:spMkLst>
            <pc:docMk/>
            <pc:sldMk cId="3806476812" sldId="596"/>
            <ac:spMk id="5" creationId="{7707A921-7F7A-40D6-B478-D13DE126928E}"/>
          </ac:spMkLst>
        </pc:spChg>
        <pc:spChg chg="add mod">
          <ac:chgData name="Szmidt Mateusz" userId="65a76720-5d68-4247-bfbb-4498149d5e6c" providerId="ADAL" clId="{53F405C7-CDCB-4165-91CB-79F00C7648D2}" dt="2023-06-14T21:09:09.325" v="830" actId="20577"/>
          <ac:spMkLst>
            <pc:docMk/>
            <pc:sldMk cId="3806476812" sldId="596"/>
            <ac:spMk id="11" creationId="{116CF252-269A-FA52-6842-63E60E017FB2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47" creationId="{25135662-FC8F-45D7-8A12-CF31A4065F02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50" creationId="{CD8EE983-89EC-49B3-B4C5-B36CFB067D92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51" creationId="{9AB1D62A-0743-4742-8B34-87EC76EF29E7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52" creationId="{58DFDE3F-24D1-4986-A6B7-2F66533B067C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53" creationId="{6581137A-6B33-4303-BCFA-65D9615DDC1B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54" creationId="{D70C51E2-2324-40C1-8374-A6300001138B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55" creationId="{2076B3DB-D56C-463F-AD8B-71EAB1E2CA4B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57" creationId="{F48648F8-72BA-4C96-8939-93AC5874EFC9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58" creationId="{A95C0A40-0C0B-439B-969A-A8DD48C54386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59" creationId="{0037A242-753D-4358-903C-8DC5E806C142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60" creationId="{FB124705-E2B0-49C0-8EA5-8CEF992571B0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61" creationId="{29DB0390-FFD8-4415-B882-3CC05B290993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62" creationId="{B7851C51-AA27-4EA6-BA96-59C2B1CF28CC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64" creationId="{FF849F18-184D-4778-A416-03D870521CBC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65" creationId="{9B7F7BFC-15DB-4789-84A1-296CF7176A79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66" creationId="{70A22517-58D7-473F-8F71-6B420DBE858F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67" creationId="{B63743DE-C41C-4018-8BA0-215D7E1B7B30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68" creationId="{76E9BC0F-52CC-49B7-8A10-F390A7967904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69" creationId="{60E54607-E287-4C8A-BCB9-FB527DBD5E5F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71" creationId="{D5DAA0BA-80A1-4EE9-9DC8-8A1E1A378859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72" creationId="{CD1824B9-AD32-46B4-80A7-3FD455F78717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78" creationId="{3B639D30-09F6-4ECB-8796-F61AFAFD1CB5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93" creationId="{D3946B9E-5043-444F-9B1B-799DC9C2CC6C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99" creationId="{01D254C2-C6E6-4C28-88B4-3BDB612C864E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105" creationId="{3C3F1B3E-6D03-4CB2-A28C-D5A367B2D946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107" creationId="{795D90AC-994A-43B3-96F5-A568A6884E35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108" creationId="{5DEA6CC1-A98C-4D82-AA85-89C9072D0B08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109" creationId="{2EEECDB8-53A8-42DB-97E5-73034EE6064F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111" creationId="{7E144C7D-3AA0-4384-9076-006448CB733C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112" creationId="{D5EE68A7-E8B2-4F53-A23B-D5CFE6C5AF93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116" creationId="{E5174C0C-2D44-4BD8-B283-4FF77407B823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117" creationId="{A8571EF6-A4C9-4273-9C26-405BBD40884E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118" creationId="{3E04DF2E-CC89-46E5-BB74-BA761DAB3CAE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120" creationId="{BDD36C57-90D5-4A93-8B1C-04109F7B97B5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121" creationId="{2B18FF23-0A1B-4046-A5AD-555791DA7820}"/>
          </ac:spMkLst>
        </pc:spChg>
        <pc:spChg chg="add del">
          <ac:chgData name="Szmidt Mateusz" userId="65a76720-5d68-4247-bfbb-4498149d5e6c" providerId="ADAL" clId="{53F405C7-CDCB-4165-91CB-79F00C7648D2}" dt="2023-06-14T20:26:37.907" v="178" actId="478"/>
          <ac:spMkLst>
            <pc:docMk/>
            <pc:sldMk cId="3806476812" sldId="596"/>
            <ac:spMk id="122" creationId="{362B4911-7815-492B-A72B-2AEB2EBF2B1A}"/>
          </ac:spMkLst>
        </pc:spChg>
        <pc:picChg chg="add del mod">
          <ac:chgData name="Szmidt Mateusz" userId="65a76720-5d68-4247-bfbb-4498149d5e6c" providerId="ADAL" clId="{53F405C7-CDCB-4165-91CB-79F00C7648D2}" dt="2023-06-14T20:26:28.989" v="175"/>
          <ac:picMkLst>
            <pc:docMk/>
            <pc:sldMk cId="3806476812" sldId="596"/>
            <ac:picMk id="4" creationId="{2F4D89D6-ED93-DA8F-A236-DDC0B030BB60}"/>
          </ac:picMkLst>
        </pc:picChg>
        <pc:picChg chg="add del mod">
          <ac:chgData name="Szmidt Mateusz" userId="65a76720-5d68-4247-bfbb-4498149d5e6c" providerId="ADAL" clId="{53F405C7-CDCB-4165-91CB-79F00C7648D2}" dt="2023-06-14T20:26:28.989" v="175"/>
          <ac:picMkLst>
            <pc:docMk/>
            <pc:sldMk cId="3806476812" sldId="596"/>
            <ac:picMk id="6" creationId="{CC6A4DC8-D127-831B-BCA5-7A83A4BD4B2F}"/>
          </ac:picMkLst>
        </pc:picChg>
        <pc:picChg chg="add mod">
          <ac:chgData name="Szmidt Mateusz" userId="65a76720-5d68-4247-bfbb-4498149d5e6c" providerId="ADAL" clId="{53F405C7-CDCB-4165-91CB-79F00C7648D2}" dt="2023-06-14T20:27:46.033" v="189" actId="1076"/>
          <ac:picMkLst>
            <pc:docMk/>
            <pc:sldMk cId="3806476812" sldId="596"/>
            <ac:picMk id="7" creationId="{AE6A6602-64C2-5500-8629-C4A131E4A213}"/>
          </ac:picMkLst>
        </pc:picChg>
        <pc:picChg chg="add mod">
          <ac:chgData name="Szmidt Mateusz" userId="65a76720-5d68-4247-bfbb-4498149d5e6c" providerId="ADAL" clId="{53F405C7-CDCB-4165-91CB-79F00C7648D2}" dt="2023-06-14T20:27:33.942" v="187" actId="1076"/>
          <ac:picMkLst>
            <pc:docMk/>
            <pc:sldMk cId="3806476812" sldId="596"/>
            <ac:picMk id="8" creationId="{78AFA0ED-684A-6929-B295-3A54A0E78C81}"/>
          </ac:picMkLst>
        </pc:picChg>
        <pc:picChg chg="add del mod">
          <ac:chgData name="Szmidt Mateusz" userId="65a76720-5d68-4247-bfbb-4498149d5e6c" providerId="ADAL" clId="{53F405C7-CDCB-4165-91CB-79F00C7648D2}" dt="2023-06-14T20:27:24.296" v="186"/>
          <ac:picMkLst>
            <pc:docMk/>
            <pc:sldMk cId="3806476812" sldId="596"/>
            <ac:picMk id="9" creationId="{399906AD-23BE-12DE-93D0-CF36D209903F}"/>
          </ac:picMkLst>
        </pc:picChg>
        <pc:picChg chg="add del mod">
          <ac:chgData name="Szmidt Mateusz" userId="65a76720-5d68-4247-bfbb-4498149d5e6c" providerId="ADAL" clId="{53F405C7-CDCB-4165-91CB-79F00C7648D2}" dt="2023-06-14T20:27:24.296" v="186"/>
          <ac:picMkLst>
            <pc:docMk/>
            <pc:sldMk cId="3806476812" sldId="596"/>
            <ac:picMk id="10" creationId="{BD2D31DF-B8E6-0167-2FB1-FAB80B9BC741}"/>
          </ac:picMkLst>
        </pc:picChg>
      </pc:sldChg>
      <pc:sldChg chg="addSp delSp modSp add mod">
        <pc:chgData name="Szmidt Mateusz" userId="65a76720-5d68-4247-bfbb-4498149d5e6c" providerId="ADAL" clId="{53F405C7-CDCB-4165-91CB-79F00C7648D2}" dt="2023-06-15T09:51:49.182" v="3311" actId="1076"/>
        <pc:sldMkLst>
          <pc:docMk/>
          <pc:sldMk cId="265105760" sldId="597"/>
        </pc:sldMkLst>
        <pc:spChg chg="mod">
          <ac:chgData name="Szmidt Mateusz" userId="65a76720-5d68-4247-bfbb-4498149d5e6c" providerId="ADAL" clId="{53F405C7-CDCB-4165-91CB-79F00C7648D2}" dt="2023-06-14T20:45:06.635" v="394" actId="20577"/>
          <ac:spMkLst>
            <pc:docMk/>
            <pc:sldMk cId="265105760" sldId="597"/>
            <ac:spMk id="5" creationId="{7707A921-7F7A-40D6-B478-D13DE126928E}"/>
          </ac:spMkLst>
        </pc:spChg>
        <pc:spChg chg="add del">
          <ac:chgData name="Szmidt Mateusz" userId="65a76720-5d68-4247-bfbb-4498149d5e6c" providerId="ADAL" clId="{53F405C7-CDCB-4165-91CB-79F00C7648D2}" dt="2023-06-15T08:21:51.996" v="1765" actId="478"/>
          <ac:spMkLst>
            <pc:docMk/>
            <pc:sldMk cId="265105760" sldId="597"/>
            <ac:spMk id="6" creationId="{27BD0E93-64C5-DA44-389C-755E9A76C0D2}"/>
          </ac:spMkLst>
        </pc:spChg>
        <pc:spChg chg="add del">
          <ac:chgData name="Szmidt Mateusz" userId="65a76720-5d68-4247-bfbb-4498149d5e6c" providerId="ADAL" clId="{53F405C7-CDCB-4165-91CB-79F00C7648D2}" dt="2023-06-15T09:31:58.581" v="2527" actId="22"/>
          <ac:spMkLst>
            <pc:docMk/>
            <pc:sldMk cId="265105760" sldId="597"/>
            <ac:spMk id="12" creationId="{003D000A-1AC7-C613-CAAD-DEA684F44FC4}"/>
          </ac:spMkLst>
        </pc:spChg>
        <pc:picChg chg="add del mod">
          <ac:chgData name="Szmidt Mateusz" userId="65a76720-5d68-4247-bfbb-4498149d5e6c" providerId="ADAL" clId="{53F405C7-CDCB-4165-91CB-79F00C7648D2}" dt="2023-06-14T22:34:22.118" v="1190" actId="478"/>
          <ac:picMkLst>
            <pc:docMk/>
            <pc:sldMk cId="265105760" sldId="597"/>
            <ac:picMk id="6" creationId="{C6FEE458-72EF-D7DC-1C40-CBED6040D7DF}"/>
          </ac:picMkLst>
        </pc:picChg>
        <pc:picChg chg="add mod ord">
          <ac:chgData name="Szmidt Mateusz" userId="65a76720-5d68-4247-bfbb-4498149d5e6c" providerId="ADAL" clId="{53F405C7-CDCB-4165-91CB-79F00C7648D2}" dt="2023-06-15T09:51:26.343" v="3306" actId="1076"/>
          <ac:picMkLst>
            <pc:docMk/>
            <pc:sldMk cId="265105760" sldId="597"/>
            <ac:picMk id="10" creationId="{4D7B23A5-6194-294E-1646-1BF2E0A17FA2}"/>
          </ac:picMkLst>
        </pc:picChg>
        <pc:picChg chg="add del">
          <ac:chgData name="Szmidt Mateusz" userId="65a76720-5d68-4247-bfbb-4498149d5e6c" providerId="ADAL" clId="{53F405C7-CDCB-4165-91CB-79F00C7648D2}" dt="2023-06-14T22:36:54.191" v="1192" actId="478"/>
          <ac:picMkLst>
            <pc:docMk/>
            <pc:sldMk cId="265105760" sldId="597"/>
            <ac:picMk id="10" creationId="{556BBF9D-78EB-38AF-AFC1-4749C06C6AFA}"/>
          </ac:picMkLst>
        </pc:picChg>
        <pc:picChg chg="add del mod ord">
          <ac:chgData name="Szmidt Mateusz" userId="65a76720-5d68-4247-bfbb-4498149d5e6c" providerId="ADAL" clId="{53F405C7-CDCB-4165-91CB-79F00C7648D2}" dt="2023-06-14T22:38:19.183" v="1200" actId="478"/>
          <ac:picMkLst>
            <pc:docMk/>
            <pc:sldMk cId="265105760" sldId="597"/>
            <ac:picMk id="12" creationId="{44B7AD23-C897-1489-B09A-B57CE40F994C}"/>
          </ac:picMkLst>
        </pc:picChg>
        <pc:picChg chg="add mod">
          <ac:chgData name="Szmidt Mateusz" userId="65a76720-5d68-4247-bfbb-4498149d5e6c" providerId="ADAL" clId="{53F405C7-CDCB-4165-91CB-79F00C7648D2}" dt="2023-06-15T09:51:40.942" v="3310" actId="1076"/>
          <ac:picMkLst>
            <pc:docMk/>
            <pc:sldMk cId="265105760" sldId="597"/>
            <ac:picMk id="14" creationId="{4DA016CA-628F-CA58-D430-9D2B1D05F071}"/>
          </ac:picMkLst>
        </pc:picChg>
        <pc:picChg chg="add del mod">
          <ac:chgData name="Szmidt Mateusz" userId="65a76720-5d68-4247-bfbb-4498149d5e6c" providerId="ADAL" clId="{53F405C7-CDCB-4165-91CB-79F00C7648D2}" dt="2023-06-14T22:42:18.350" v="1207" actId="478"/>
          <ac:picMkLst>
            <pc:docMk/>
            <pc:sldMk cId="265105760" sldId="597"/>
            <ac:picMk id="14" creationId="{A342AB3E-E88B-EE66-16A0-8A55A997EE79}"/>
          </ac:picMkLst>
        </pc:picChg>
        <pc:picChg chg="add del mod ord">
          <ac:chgData name="Szmidt Mateusz" userId="65a76720-5d68-4247-bfbb-4498149d5e6c" providerId="ADAL" clId="{53F405C7-CDCB-4165-91CB-79F00C7648D2}" dt="2023-06-15T08:21:42.607" v="1763" actId="478"/>
          <ac:picMkLst>
            <pc:docMk/>
            <pc:sldMk cId="265105760" sldId="597"/>
            <ac:picMk id="16" creationId="{F9317038-10AD-3378-D404-D9E08600799B}"/>
          </ac:picMkLst>
        </pc:picChg>
        <pc:picChg chg="add mod">
          <ac:chgData name="Szmidt Mateusz" userId="65a76720-5d68-4247-bfbb-4498149d5e6c" providerId="ADAL" clId="{53F405C7-CDCB-4165-91CB-79F00C7648D2}" dt="2023-06-15T09:51:49.182" v="3311" actId="1076"/>
          <ac:picMkLst>
            <pc:docMk/>
            <pc:sldMk cId="265105760" sldId="597"/>
            <ac:picMk id="17" creationId="{94B44D56-5C48-183F-5E6E-18AA8568C98D}"/>
          </ac:picMkLst>
        </pc:picChg>
        <pc:picChg chg="add mod">
          <ac:chgData name="Szmidt Mateusz" userId="65a76720-5d68-4247-bfbb-4498149d5e6c" providerId="ADAL" clId="{53F405C7-CDCB-4165-91CB-79F00C7648D2}" dt="2023-06-15T09:51:31.393" v="3307" actId="1076"/>
          <ac:picMkLst>
            <pc:docMk/>
            <pc:sldMk cId="265105760" sldId="597"/>
            <ac:picMk id="18" creationId="{57D5B22D-C0E6-57D2-D577-DA20917876E0}"/>
          </ac:picMkLst>
        </pc:picChg>
      </pc:sldChg>
      <pc:sldChg chg="del">
        <pc:chgData name="Szmidt Mateusz" userId="65a76720-5d68-4247-bfbb-4498149d5e6c" providerId="ADAL" clId="{53F405C7-CDCB-4165-91CB-79F00C7648D2}" dt="2023-06-14T20:09:13.726" v="13" actId="47"/>
        <pc:sldMkLst>
          <pc:docMk/>
          <pc:sldMk cId="3658064849" sldId="597"/>
        </pc:sldMkLst>
      </pc:sldChg>
      <pc:sldChg chg="addSp delSp modSp add mod">
        <pc:chgData name="Szmidt Mateusz" userId="65a76720-5d68-4247-bfbb-4498149d5e6c" providerId="ADAL" clId="{53F405C7-CDCB-4165-91CB-79F00C7648D2}" dt="2023-06-15T10:50:24.134" v="4474" actId="14100"/>
        <pc:sldMkLst>
          <pc:docMk/>
          <pc:sldMk cId="1586011707" sldId="598"/>
        </pc:sldMkLst>
        <pc:spChg chg="add del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4" creationId="{A8376791-3520-A361-51C6-E01CF5C4C4BC}"/>
          </ac:spMkLst>
        </pc:spChg>
        <pc:spChg chg="add del mod">
          <ac:chgData name="Szmidt Mateusz" userId="65a76720-5d68-4247-bfbb-4498149d5e6c" providerId="ADAL" clId="{53F405C7-CDCB-4165-91CB-79F00C7648D2}" dt="2023-06-14T22:43:43.904" v="1251" actId="478"/>
          <ac:spMkLst>
            <pc:docMk/>
            <pc:sldMk cId="1586011707" sldId="598"/>
            <ac:spMk id="4" creationId="{F85BECD0-8A47-52E9-8C96-7C8CDBC2CF09}"/>
          </ac:spMkLst>
        </pc:spChg>
        <pc:spChg chg="mod">
          <ac:chgData name="Szmidt Mateusz" userId="65a76720-5d68-4247-bfbb-4498149d5e6c" providerId="ADAL" clId="{53F405C7-CDCB-4165-91CB-79F00C7648D2}" dt="2023-06-14T22:45:11.137" v="1298" actId="20577"/>
          <ac:spMkLst>
            <pc:docMk/>
            <pc:sldMk cId="1586011707" sldId="598"/>
            <ac:spMk id="5" creationId="{7707A921-7F7A-40D6-B478-D13DE126928E}"/>
          </ac:spMkLst>
        </pc:spChg>
        <pc:spChg chg="add del mod">
          <ac:chgData name="Szmidt Mateusz" userId="65a76720-5d68-4247-bfbb-4498149d5e6c" providerId="ADAL" clId="{53F405C7-CDCB-4165-91CB-79F00C7648D2}" dt="2023-06-15T09:13:31.670" v="1942" actId="478"/>
          <ac:spMkLst>
            <pc:docMk/>
            <pc:sldMk cId="1586011707" sldId="598"/>
            <ac:spMk id="6" creationId="{4C7AB490-C40B-50FD-45DD-427DD0D1C6A8}"/>
          </ac:spMkLst>
        </pc:spChg>
        <pc:spChg chg="add del mod">
          <ac:chgData name="Szmidt Mateusz" userId="65a76720-5d68-4247-bfbb-4498149d5e6c" providerId="ADAL" clId="{53F405C7-CDCB-4165-91CB-79F00C7648D2}" dt="2023-06-15T08:42:14.012" v="1852" actId="478"/>
          <ac:spMkLst>
            <pc:docMk/>
            <pc:sldMk cId="1586011707" sldId="598"/>
            <ac:spMk id="9" creationId="{22A9420F-10B6-BD58-788F-9C6278EFA092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10" creationId="{3DAA3DF2-C77A-81F9-086D-F7B2F03C36E2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11" creationId="{2C562EE9-5FE4-D678-A342-CE5458C3435D}"/>
          </ac:spMkLst>
        </pc:spChg>
        <pc:spChg chg="add del mod">
          <ac:chgData name="Szmidt Mateusz" userId="65a76720-5d68-4247-bfbb-4498149d5e6c" providerId="ADAL" clId="{53F405C7-CDCB-4165-91CB-79F00C7648D2}" dt="2023-06-15T09:13:33.956" v="1943" actId="478"/>
          <ac:spMkLst>
            <pc:docMk/>
            <pc:sldMk cId="1586011707" sldId="598"/>
            <ac:spMk id="12" creationId="{612190C3-D30A-93C2-9922-9034FDFE9531}"/>
          </ac:spMkLst>
        </pc:spChg>
        <pc:spChg chg="add del mod">
          <ac:chgData name="Szmidt Mateusz" userId="65a76720-5d68-4247-bfbb-4498149d5e6c" providerId="ADAL" clId="{53F405C7-CDCB-4165-91CB-79F00C7648D2}" dt="2023-06-15T09:25:55.981" v="2331" actId="478"/>
          <ac:spMkLst>
            <pc:docMk/>
            <pc:sldMk cId="1586011707" sldId="598"/>
            <ac:spMk id="13" creationId="{F966C654-6714-86F1-7044-9F9B163C6165}"/>
          </ac:spMkLst>
        </pc:spChg>
        <pc:spChg chg="add del mod">
          <ac:chgData name="Szmidt Mateusz" userId="65a76720-5d68-4247-bfbb-4498149d5e6c" providerId="ADAL" clId="{53F405C7-CDCB-4165-91CB-79F00C7648D2}" dt="2023-06-15T09:26:01.072" v="2332" actId="478"/>
          <ac:spMkLst>
            <pc:docMk/>
            <pc:sldMk cId="1586011707" sldId="598"/>
            <ac:spMk id="14" creationId="{A0885BC8-0F5A-6367-6188-7780FF10CBCB}"/>
          </ac:spMkLst>
        </pc:spChg>
        <pc:spChg chg="add mod">
          <ac:chgData name="Szmidt Mateusz" userId="65a76720-5d68-4247-bfbb-4498149d5e6c" providerId="ADAL" clId="{53F405C7-CDCB-4165-91CB-79F00C7648D2}" dt="2023-06-15T09:17:58.192" v="2056" actId="1076"/>
          <ac:spMkLst>
            <pc:docMk/>
            <pc:sldMk cId="1586011707" sldId="598"/>
            <ac:spMk id="15" creationId="{45EAD39B-048D-03DB-D576-2FFED2BBCD38}"/>
          </ac:spMkLst>
        </pc:spChg>
        <pc:spChg chg="add mod">
          <ac:chgData name="Szmidt Mateusz" userId="65a76720-5d68-4247-bfbb-4498149d5e6c" providerId="ADAL" clId="{53F405C7-CDCB-4165-91CB-79F00C7648D2}" dt="2023-06-15T09:17:58.192" v="2056" actId="1076"/>
          <ac:spMkLst>
            <pc:docMk/>
            <pc:sldMk cId="1586011707" sldId="598"/>
            <ac:spMk id="16" creationId="{89BCB7F9-3C6D-2A73-A60B-FDD5F12CA6FB}"/>
          </ac:spMkLst>
        </pc:spChg>
        <pc:spChg chg="add mod">
          <ac:chgData name="Szmidt Mateusz" userId="65a76720-5d68-4247-bfbb-4498149d5e6c" providerId="ADAL" clId="{53F405C7-CDCB-4165-91CB-79F00C7648D2}" dt="2023-06-15T09:17:58.192" v="2056" actId="1076"/>
          <ac:spMkLst>
            <pc:docMk/>
            <pc:sldMk cId="1586011707" sldId="598"/>
            <ac:spMk id="17" creationId="{641B9902-9D17-BD84-85E2-50272A3E2DA5}"/>
          </ac:spMkLst>
        </pc:spChg>
        <pc:spChg chg="add del mod">
          <ac:chgData name="Szmidt Mateusz" userId="65a76720-5d68-4247-bfbb-4498149d5e6c" providerId="ADAL" clId="{53F405C7-CDCB-4165-91CB-79F00C7648D2}" dt="2023-06-15T09:17:34.697" v="2053" actId="478"/>
          <ac:spMkLst>
            <pc:docMk/>
            <pc:sldMk cId="1586011707" sldId="598"/>
            <ac:spMk id="18" creationId="{36D7FCF6-9823-B6CC-1D5D-A90DE785F482}"/>
          </ac:spMkLst>
        </pc:spChg>
        <pc:spChg chg="add del mod">
          <ac:chgData name="Szmidt Mateusz" userId="65a76720-5d68-4247-bfbb-4498149d5e6c" providerId="ADAL" clId="{53F405C7-CDCB-4165-91CB-79F00C7648D2}" dt="2023-06-15T09:17:34.697" v="2053" actId="478"/>
          <ac:spMkLst>
            <pc:docMk/>
            <pc:sldMk cId="1586011707" sldId="598"/>
            <ac:spMk id="19" creationId="{66A43AF1-CBAE-17C6-D48D-B3BCB3F5B584}"/>
          </ac:spMkLst>
        </pc:spChg>
        <pc:spChg chg="add del mod">
          <ac:chgData name="Szmidt Mateusz" userId="65a76720-5d68-4247-bfbb-4498149d5e6c" providerId="ADAL" clId="{53F405C7-CDCB-4165-91CB-79F00C7648D2}" dt="2023-06-15T09:17:34.697" v="2053" actId="478"/>
          <ac:spMkLst>
            <pc:docMk/>
            <pc:sldMk cId="1586011707" sldId="598"/>
            <ac:spMk id="20" creationId="{DBFC3E91-2063-33B9-FEAA-B3711A938BDE}"/>
          </ac:spMkLst>
        </pc:spChg>
        <pc:spChg chg="add del mod">
          <ac:chgData name="Szmidt Mateusz" userId="65a76720-5d68-4247-bfbb-4498149d5e6c" providerId="ADAL" clId="{53F405C7-CDCB-4165-91CB-79F00C7648D2}" dt="2023-06-15T09:17:34.697" v="2053" actId="478"/>
          <ac:spMkLst>
            <pc:docMk/>
            <pc:sldMk cId="1586011707" sldId="598"/>
            <ac:spMk id="21" creationId="{5F209B36-D122-43F8-1518-E1D4FF0D83A7}"/>
          </ac:spMkLst>
        </pc:spChg>
        <pc:spChg chg="add del mod">
          <ac:chgData name="Szmidt Mateusz" userId="65a76720-5d68-4247-bfbb-4498149d5e6c" providerId="ADAL" clId="{53F405C7-CDCB-4165-91CB-79F00C7648D2}" dt="2023-06-15T09:17:34.697" v="2053" actId="478"/>
          <ac:spMkLst>
            <pc:docMk/>
            <pc:sldMk cId="1586011707" sldId="598"/>
            <ac:spMk id="22" creationId="{C890D8B1-6EA2-DF56-D5B7-4E784F5DBBE1}"/>
          </ac:spMkLst>
        </pc:spChg>
        <pc:spChg chg="add del mod">
          <ac:chgData name="Szmidt Mateusz" userId="65a76720-5d68-4247-bfbb-4498149d5e6c" providerId="ADAL" clId="{53F405C7-CDCB-4165-91CB-79F00C7648D2}" dt="2023-06-15T09:17:34.697" v="2053" actId="478"/>
          <ac:spMkLst>
            <pc:docMk/>
            <pc:sldMk cId="1586011707" sldId="598"/>
            <ac:spMk id="23" creationId="{2A493F5B-DDC9-61FB-FFF2-ED73902375D7}"/>
          </ac:spMkLst>
        </pc:spChg>
        <pc:spChg chg="add del mod">
          <ac:chgData name="Szmidt Mateusz" userId="65a76720-5d68-4247-bfbb-4498149d5e6c" providerId="ADAL" clId="{53F405C7-CDCB-4165-91CB-79F00C7648D2}" dt="2023-06-15T09:14:15.028" v="1951" actId="478"/>
          <ac:spMkLst>
            <pc:docMk/>
            <pc:sldMk cId="1586011707" sldId="598"/>
            <ac:spMk id="24" creationId="{D9759718-AB0B-A939-1E18-CE01BCB01760}"/>
          </ac:spMkLst>
        </pc:spChg>
        <pc:spChg chg="add del mod">
          <ac:chgData name="Szmidt Mateusz" userId="65a76720-5d68-4247-bfbb-4498149d5e6c" providerId="ADAL" clId="{53F405C7-CDCB-4165-91CB-79F00C7648D2}" dt="2023-06-15T09:14:19.402" v="1953" actId="478"/>
          <ac:spMkLst>
            <pc:docMk/>
            <pc:sldMk cId="1586011707" sldId="598"/>
            <ac:spMk id="25" creationId="{9E7AD0DD-6F11-0304-B626-4352B0125E6E}"/>
          </ac:spMkLst>
        </pc:spChg>
        <pc:spChg chg="add del mod">
          <ac:chgData name="Szmidt Mateusz" userId="65a76720-5d68-4247-bfbb-4498149d5e6c" providerId="ADAL" clId="{53F405C7-CDCB-4165-91CB-79F00C7648D2}" dt="2023-06-15T09:14:15.028" v="1951" actId="478"/>
          <ac:spMkLst>
            <pc:docMk/>
            <pc:sldMk cId="1586011707" sldId="598"/>
            <ac:spMk id="26" creationId="{093D54DA-4436-FFAC-5AEA-864F0F00B41B}"/>
          </ac:spMkLst>
        </pc:spChg>
        <pc:spChg chg="add del mod">
          <ac:chgData name="Szmidt Mateusz" userId="65a76720-5d68-4247-bfbb-4498149d5e6c" providerId="ADAL" clId="{53F405C7-CDCB-4165-91CB-79F00C7648D2}" dt="2023-06-15T09:14:18.018" v="1952" actId="478"/>
          <ac:spMkLst>
            <pc:docMk/>
            <pc:sldMk cId="1586011707" sldId="598"/>
            <ac:spMk id="27" creationId="{422F479D-2478-80C3-599D-F645BBB858F5}"/>
          </ac:spMkLst>
        </pc:spChg>
        <pc:spChg chg="add del mod">
          <ac:chgData name="Szmidt Mateusz" userId="65a76720-5d68-4247-bfbb-4498149d5e6c" providerId="ADAL" clId="{53F405C7-CDCB-4165-91CB-79F00C7648D2}" dt="2023-06-15T09:14:15.028" v="1951" actId="478"/>
          <ac:spMkLst>
            <pc:docMk/>
            <pc:sldMk cId="1586011707" sldId="598"/>
            <ac:spMk id="28" creationId="{596001E1-E4AE-6287-EC9B-BB1FFEDC6969}"/>
          </ac:spMkLst>
        </pc:spChg>
        <pc:spChg chg="add del mod">
          <ac:chgData name="Szmidt Mateusz" userId="65a76720-5d68-4247-bfbb-4498149d5e6c" providerId="ADAL" clId="{53F405C7-CDCB-4165-91CB-79F00C7648D2}" dt="2023-06-15T09:14:18.018" v="1952" actId="478"/>
          <ac:spMkLst>
            <pc:docMk/>
            <pc:sldMk cId="1586011707" sldId="598"/>
            <ac:spMk id="29" creationId="{530A24CD-41F8-4F41-AB2F-BD4751B1F153}"/>
          </ac:spMkLst>
        </pc:spChg>
        <pc:spChg chg="add del mod">
          <ac:chgData name="Szmidt Mateusz" userId="65a76720-5d68-4247-bfbb-4498149d5e6c" providerId="ADAL" clId="{53F405C7-CDCB-4165-91CB-79F00C7648D2}" dt="2023-06-15T09:17:19.213" v="2052" actId="478"/>
          <ac:spMkLst>
            <pc:docMk/>
            <pc:sldMk cId="1586011707" sldId="598"/>
            <ac:spMk id="30" creationId="{EA667CDE-5170-A599-5733-BB078B864ABE}"/>
          </ac:spMkLst>
        </pc:spChg>
        <pc:spChg chg="add del mod">
          <ac:chgData name="Szmidt Mateusz" userId="65a76720-5d68-4247-bfbb-4498149d5e6c" providerId="ADAL" clId="{53F405C7-CDCB-4165-91CB-79F00C7648D2}" dt="2023-06-15T09:17:19.213" v="2052" actId="478"/>
          <ac:spMkLst>
            <pc:docMk/>
            <pc:sldMk cId="1586011707" sldId="598"/>
            <ac:spMk id="31" creationId="{DE8B7DB7-BE45-04B1-E2E4-EC4B48ECD894}"/>
          </ac:spMkLst>
        </pc:spChg>
        <pc:spChg chg="add del mod">
          <ac:chgData name="Szmidt Mateusz" userId="65a76720-5d68-4247-bfbb-4498149d5e6c" providerId="ADAL" clId="{53F405C7-CDCB-4165-91CB-79F00C7648D2}" dt="2023-06-15T09:17:19.213" v="2052" actId="478"/>
          <ac:spMkLst>
            <pc:docMk/>
            <pc:sldMk cId="1586011707" sldId="598"/>
            <ac:spMk id="32" creationId="{71CA05DE-A0C1-E6AE-C7FB-CF3568BD628C}"/>
          </ac:spMkLst>
        </pc:spChg>
        <pc:spChg chg="add del mod">
          <ac:chgData name="Szmidt Mateusz" userId="65a76720-5d68-4247-bfbb-4498149d5e6c" providerId="ADAL" clId="{53F405C7-CDCB-4165-91CB-79F00C7648D2}" dt="2023-06-15T09:17:19.213" v="2052" actId="478"/>
          <ac:spMkLst>
            <pc:docMk/>
            <pc:sldMk cId="1586011707" sldId="598"/>
            <ac:spMk id="33" creationId="{848D8DBB-F6B2-6AD1-CBD3-0A64D7D2778D}"/>
          </ac:spMkLst>
        </pc:spChg>
        <pc:spChg chg="add del mod">
          <ac:chgData name="Szmidt Mateusz" userId="65a76720-5d68-4247-bfbb-4498149d5e6c" providerId="ADAL" clId="{53F405C7-CDCB-4165-91CB-79F00C7648D2}" dt="2023-06-15T09:17:19.213" v="2052" actId="478"/>
          <ac:spMkLst>
            <pc:docMk/>
            <pc:sldMk cId="1586011707" sldId="598"/>
            <ac:spMk id="34" creationId="{842EF962-6F3E-A415-031D-50EFFF899B66}"/>
          </ac:spMkLst>
        </pc:spChg>
        <pc:spChg chg="add del mod">
          <ac:chgData name="Szmidt Mateusz" userId="65a76720-5d68-4247-bfbb-4498149d5e6c" providerId="ADAL" clId="{53F405C7-CDCB-4165-91CB-79F00C7648D2}" dt="2023-06-15T09:17:19.213" v="2052" actId="478"/>
          <ac:spMkLst>
            <pc:docMk/>
            <pc:sldMk cId="1586011707" sldId="598"/>
            <ac:spMk id="35" creationId="{A3600C8D-FF43-C3A3-F835-02B544B2ABF2}"/>
          </ac:spMkLst>
        </pc:spChg>
        <pc:spChg chg="add del mod">
          <ac:chgData name="Szmidt Mateusz" userId="65a76720-5d68-4247-bfbb-4498149d5e6c" providerId="ADAL" clId="{53F405C7-CDCB-4165-91CB-79F00C7648D2}" dt="2023-06-15T09:17:34.697" v="2053" actId="478"/>
          <ac:spMkLst>
            <pc:docMk/>
            <pc:sldMk cId="1586011707" sldId="598"/>
            <ac:spMk id="36" creationId="{1C8E90B8-F9D9-9869-F858-4447B96D7605}"/>
          </ac:spMkLst>
        </pc:spChg>
        <pc:spChg chg="add del mod">
          <ac:chgData name="Szmidt Mateusz" userId="65a76720-5d68-4247-bfbb-4498149d5e6c" providerId="ADAL" clId="{53F405C7-CDCB-4165-91CB-79F00C7648D2}" dt="2023-06-15T09:17:34.697" v="2053" actId="478"/>
          <ac:spMkLst>
            <pc:docMk/>
            <pc:sldMk cId="1586011707" sldId="598"/>
            <ac:spMk id="37" creationId="{F58A6D4E-0EDF-2BAD-5001-0E455AF35B98}"/>
          </ac:spMkLst>
        </pc:spChg>
        <pc:spChg chg="add del mod">
          <ac:chgData name="Szmidt Mateusz" userId="65a76720-5d68-4247-bfbb-4498149d5e6c" providerId="ADAL" clId="{53F405C7-CDCB-4165-91CB-79F00C7648D2}" dt="2023-06-15T09:17:34.697" v="2053" actId="478"/>
          <ac:spMkLst>
            <pc:docMk/>
            <pc:sldMk cId="1586011707" sldId="598"/>
            <ac:spMk id="38" creationId="{449966D6-B55C-4256-698F-B64DFC00CFC6}"/>
          </ac:spMkLst>
        </pc:spChg>
        <pc:spChg chg="add del mod">
          <ac:chgData name="Szmidt Mateusz" userId="65a76720-5d68-4247-bfbb-4498149d5e6c" providerId="ADAL" clId="{53F405C7-CDCB-4165-91CB-79F00C7648D2}" dt="2023-06-15T09:17:34.697" v="2053" actId="478"/>
          <ac:spMkLst>
            <pc:docMk/>
            <pc:sldMk cId="1586011707" sldId="598"/>
            <ac:spMk id="39" creationId="{8FCB665C-C003-CAB8-F616-52BB0FAA7B05}"/>
          </ac:spMkLst>
        </pc:spChg>
        <pc:spChg chg="add del mod">
          <ac:chgData name="Szmidt Mateusz" userId="65a76720-5d68-4247-bfbb-4498149d5e6c" providerId="ADAL" clId="{53F405C7-CDCB-4165-91CB-79F00C7648D2}" dt="2023-06-15T09:17:34.697" v="2053" actId="478"/>
          <ac:spMkLst>
            <pc:docMk/>
            <pc:sldMk cId="1586011707" sldId="598"/>
            <ac:spMk id="40" creationId="{1CD08D69-3956-6394-7D4A-A59EFD68BFBC}"/>
          </ac:spMkLst>
        </pc:spChg>
        <pc:spChg chg="add del mod">
          <ac:chgData name="Szmidt Mateusz" userId="65a76720-5d68-4247-bfbb-4498149d5e6c" providerId="ADAL" clId="{53F405C7-CDCB-4165-91CB-79F00C7648D2}" dt="2023-06-15T09:17:34.697" v="2053" actId="478"/>
          <ac:spMkLst>
            <pc:docMk/>
            <pc:sldMk cId="1586011707" sldId="598"/>
            <ac:spMk id="41" creationId="{7D571B44-50EA-4766-C45C-2E3888B43699}"/>
          </ac:spMkLst>
        </pc:spChg>
        <pc:spChg chg="add del mod">
          <ac:chgData name="Szmidt Mateusz" userId="65a76720-5d68-4247-bfbb-4498149d5e6c" providerId="ADAL" clId="{53F405C7-CDCB-4165-91CB-79F00C7648D2}" dt="2023-06-15T09:25:55.981" v="2331" actId="478"/>
          <ac:spMkLst>
            <pc:docMk/>
            <pc:sldMk cId="1586011707" sldId="598"/>
            <ac:spMk id="42" creationId="{59AEEC44-8B2F-C9D4-DCC2-74923F3E8D32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46" creationId="{730CB606-F9C6-FE0E-898E-CF1BB0B65CD9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47" creationId="{110D145E-15F5-E31E-BFD5-E08B20531461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48" creationId="{E4CEC60E-8C16-C045-90D8-5C8FA4745211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49" creationId="{9ACD4661-05A8-7F8F-BA29-916946C1C0A4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50" creationId="{09813B29-3655-8B55-6ED0-3CEE24B76266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51" creationId="{E7334DE7-BAD3-8242-37D8-A34A84BDD794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52" creationId="{7E12A3F6-E408-342E-DC3A-FEF4A01F0BC9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53" creationId="{F9FC077C-F6E7-6AA6-5A87-D8F739212A4F}"/>
          </ac:spMkLst>
        </pc:spChg>
        <pc:spChg chg="add del mod">
          <ac:chgData name="Szmidt Mateusz" userId="65a76720-5d68-4247-bfbb-4498149d5e6c" providerId="ADAL" clId="{53F405C7-CDCB-4165-91CB-79F00C7648D2}" dt="2023-06-15T09:20:53.859" v="2133" actId="478"/>
          <ac:spMkLst>
            <pc:docMk/>
            <pc:sldMk cId="1586011707" sldId="598"/>
            <ac:spMk id="55" creationId="{2A39796F-A30A-8862-DD38-E569D00DEFF0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56" creationId="{8123E543-8AD4-2924-A6B6-E881908AFBD3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57" creationId="{9AE53ABF-68CD-5D80-BD16-74BA6E46D77F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58" creationId="{BC9142EF-C237-7FA9-4205-F1C71DB3079D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59" creationId="{88B13E27-C217-582D-78A0-E5C0C75BF114}"/>
          </ac:spMkLst>
        </pc:spChg>
        <pc:spChg chg="add mod">
          <ac:chgData name="Szmidt Mateusz" userId="65a76720-5d68-4247-bfbb-4498149d5e6c" providerId="ADAL" clId="{53F405C7-CDCB-4165-91CB-79F00C7648D2}" dt="2023-06-15T09:27:13.450" v="2397" actId="1076"/>
          <ac:spMkLst>
            <pc:docMk/>
            <pc:sldMk cId="1586011707" sldId="598"/>
            <ac:spMk id="60" creationId="{86915844-0B8A-DBD3-0315-28F3E949FA73}"/>
          </ac:spMkLst>
        </pc:spChg>
        <pc:spChg chg="add mod">
          <ac:chgData name="Szmidt Mateusz" userId="65a76720-5d68-4247-bfbb-4498149d5e6c" providerId="ADAL" clId="{53F405C7-CDCB-4165-91CB-79F00C7648D2}" dt="2023-06-15T10:50:24.134" v="4474" actId="14100"/>
          <ac:spMkLst>
            <pc:docMk/>
            <pc:sldMk cId="1586011707" sldId="598"/>
            <ac:spMk id="63" creationId="{FD4F0F93-65F0-7D09-7782-64E6EBAAC304}"/>
          </ac:spMkLst>
        </pc:spChg>
        <pc:spChg chg="add mod">
          <ac:chgData name="Szmidt Mateusz" userId="65a76720-5d68-4247-bfbb-4498149d5e6c" providerId="ADAL" clId="{53F405C7-CDCB-4165-91CB-79F00C7648D2}" dt="2023-06-15T09:27:35.999" v="2399" actId="1076"/>
          <ac:spMkLst>
            <pc:docMk/>
            <pc:sldMk cId="1586011707" sldId="598"/>
            <ac:spMk id="64" creationId="{33DD5870-8F60-FAFA-6A0C-4A842661EA9D}"/>
          </ac:spMkLst>
        </pc:spChg>
        <pc:spChg chg="add mod">
          <ac:chgData name="Szmidt Mateusz" userId="65a76720-5d68-4247-bfbb-4498149d5e6c" providerId="ADAL" clId="{53F405C7-CDCB-4165-91CB-79F00C7648D2}" dt="2023-06-15T09:27:35.999" v="2399" actId="1076"/>
          <ac:spMkLst>
            <pc:docMk/>
            <pc:sldMk cId="1586011707" sldId="598"/>
            <ac:spMk id="65" creationId="{C01A7A31-42C9-D067-C1CC-F58CB1721B83}"/>
          </ac:spMkLst>
        </pc:spChg>
        <pc:spChg chg="add del mod">
          <ac:chgData name="Szmidt Mateusz" userId="65a76720-5d68-4247-bfbb-4498149d5e6c" providerId="ADAL" clId="{53F405C7-CDCB-4165-91CB-79F00C7648D2}" dt="2023-06-15T10:50:10.011" v="4468" actId="478"/>
          <ac:spMkLst>
            <pc:docMk/>
            <pc:sldMk cId="1586011707" sldId="598"/>
            <ac:spMk id="67" creationId="{9633CFC9-42C9-F85D-2A6D-8D258D886314}"/>
          </ac:spMkLst>
        </pc:spChg>
        <pc:spChg chg="add mod">
          <ac:chgData name="Szmidt Mateusz" userId="65a76720-5d68-4247-bfbb-4498149d5e6c" providerId="ADAL" clId="{53F405C7-CDCB-4165-91CB-79F00C7648D2}" dt="2023-06-15T09:27:35.999" v="2399" actId="1076"/>
          <ac:spMkLst>
            <pc:docMk/>
            <pc:sldMk cId="1586011707" sldId="598"/>
            <ac:spMk id="68" creationId="{19E9AF5F-E721-4591-B8E7-94A4C981A50F}"/>
          </ac:spMkLst>
        </pc:spChg>
        <pc:spChg chg="add mod">
          <ac:chgData name="Szmidt Mateusz" userId="65a76720-5d68-4247-bfbb-4498149d5e6c" providerId="ADAL" clId="{53F405C7-CDCB-4165-91CB-79F00C7648D2}" dt="2023-06-15T09:27:35.999" v="2399" actId="1076"/>
          <ac:spMkLst>
            <pc:docMk/>
            <pc:sldMk cId="1586011707" sldId="598"/>
            <ac:spMk id="69" creationId="{79AD0A8C-77EF-402B-22A8-48781E322F7B}"/>
          </ac:spMkLst>
        </pc:spChg>
        <pc:spChg chg="add mod">
          <ac:chgData name="Szmidt Mateusz" userId="65a76720-5d68-4247-bfbb-4498149d5e6c" providerId="ADAL" clId="{53F405C7-CDCB-4165-91CB-79F00C7648D2}" dt="2023-06-15T09:27:35.999" v="2399" actId="1076"/>
          <ac:spMkLst>
            <pc:docMk/>
            <pc:sldMk cId="1586011707" sldId="598"/>
            <ac:spMk id="70" creationId="{B9974392-6097-4101-43A7-8DDD2C7C323B}"/>
          </ac:spMkLst>
        </pc:spChg>
        <pc:spChg chg="add mod">
          <ac:chgData name="Szmidt Mateusz" userId="65a76720-5d68-4247-bfbb-4498149d5e6c" providerId="ADAL" clId="{53F405C7-CDCB-4165-91CB-79F00C7648D2}" dt="2023-06-15T09:27:35.999" v="2399" actId="1076"/>
          <ac:spMkLst>
            <pc:docMk/>
            <pc:sldMk cId="1586011707" sldId="598"/>
            <ac:spMk id="71" creationId="{D7FD6C21-53C0-8AA6-B558-559E54EF7BC2}"/>
          </ac:spMkLst>
        </pc:spChg>
        <pc:picChg chg="add mod">
          <ac:chgData name="Szmidt Mateusz" userId="65a76720-5d68-4247-bfbb-4498149d5e6c" providerId="ADAL" clId="{53F405C7-CDCB-4165-91CB-79F00C7648D2}" dt="2023-06-15T09:27:13.450" v="2397" actId="1076"/>
          <ac:picMkLst>
            <pc:docMk/>
            <pc:sldMk cId="1586011707" sldId="598"/>
            <ac:picMk id="44" creationId="{EF5A7126-C59C-0B80-5603-33E3ABA3F543}"/>
          </ac:picMkLst>
        </pc:picChg>
        <pc:picChg chg="add del mod">
          <ac:chgData name="Szmidt Mateusz" userId="65a76720-5d68-4247-bfbb-4498149d5e6c" providerId="ADAL" clId="{53F405C7-CDCB-4165-91CB-79F00C7648D2}" dt="2023-06-15T09:16:18.057" v="2005" actId="478"/>
          <ac:picMkLst>
            <pc:docMk/>
            <pc:sldMk cId="1586011707" sldId="598"/>
            <ac:picMk id="54" creationId="{6B987DB3-173C-4243-A8CC-DD5DFDABB63E}"/>
          </ac:picMkLst>
        </pc:picChg>
        <pc:picChg chg="add mod">
          <ac:chgData name="Szmidt Mateusz" userId="65a76720-5d68-4247-bfbb-4498149d5e6c" providerId="ADAL" clId="{53F405C7-CDCB-4165-91CB-79F00C7648D2}" dt="2023-06-15T09:27:13.450" v="2397" actId="1076"/>
          <ac:picMkLst>
            <pc:docMk/>
            <pc:sldMk cId="1586011707" sldId="598"/>
            <ac:picMk id="62" creationId="{0FC2120E-0D52-AFB8-021D-1FB762528D4E}"/>
          </ac:picMkLst>
        </pc:picChg>
        <pc:picChg chg="add del mod">
          <ac:chgData name="Szmidt Mateusz" userId="65a76720-5d68-4247-bfbb-4498149d5e6c" providerId="ADAL" clId="{53F405C7-CDCB-4165-91CB-79F00C7648D2}" dt="2023-06-15T09:27:38.541" v="2400" actId="478"/>
          <ac:picMkLst>
            <pc:docMk/>
            <pc:sldMk cId="1586011707" sldId="598"/>
            <ac:picMk id="66" creationId="{8A8742F8-8316-1A21-EAF1-115324B02492}"/>
          </ac:picMkLst>
        </pc:picChg>
        <pc:picChg chg="add mod">
          <ac:chgData name="Szmidt Mateusz" userId="65a76720-5d68-4247-bfbb-4498149d5e6c" providerId="ADAL" clId="{53F405C7-CDCB-4165-91CB-79F00C7648D2}" dt="2023-06-15T10:50:15.118" v="4471" actId="14100"/>
          <ac:picMkLst>
            <pc:docMk/>
            <pc:sldMk cId="1586011707" sldId="598"/>
            <ac:picMk id="73" creationId="{8EBFD5B0-E956-B057-4BCE-A7A19534147F}"/>
          </ac:picMkLst>
        </pc:picChg>
      </pc:sldChg>
      <pc:sldChg chg="del">
        <pc:chgData name="Szmidt Mateusz" userId="65a76720-5d68-4247-bfbb-4498149d5e6c" providerId="ADAL" clId="{53F405C7-CDCB-4165-91CB-79F00C7648D2}" dt="2023-06-14T20:10:17.291" v="32" actId="47"/>
        <pc:sldMkLst>
          <pc:docMk/>
          <pc:sldMk cId="1925487001" sldId="598"/>
        </pc:sldMkLst>
      </pc:sldChg>
      <pc:sldChg chg="add del">
        <pc:chgData name="Szmidt Mateusz" userId="65a76720-5d68-4247-bfbb-4498149d5e6c" providerId="ADAL" clId="{53F405C7-CDCB-4165-91CB-79F00C7648D2}" dt="2023-06-14T22:47:36.673" v="1434" actId="47"/>
        <pc:sldMkLst>
          <pc:docMk/>
          <pc:sldMk cId="4002920019" sldId="599"/>
        </pc:sldMkLst>
      </pc:sldChg>
      <pc:sldChg chg="add del">
        <pc:chgData name="Szmidt Mateusz" userId="65a76720-5d68-4247-bfbb-4498149d5e6c" providerId="ADAL" clId="{53F405C7-CDCB-4165-91CB-79F00C7648D2}" dt="2023-06-14T22:49:22.811" v="1435" actId="47"/>
        <pc:sldMkLst>
          <pc:docMk/>
          <pc:sldMk cId="33073536" sldId="600"/>
        </pc:sldMkLst>
      </pc:sldChg>
      <pc:sldChg chg="addSp delSp modSp add mod">
        <pc:chgData name="Szmidt Mateusz" userId="65a76720-5d68-4247-bfbb-4498149d5e6c" providerId="ADAL" clId="{53F405C7-CDCB-4165-91CB-79F00C7648D2}" dt="2023-06-15T09:46:14.030" v="3170" actId="1076"/>
        <pc:sldMkLst>
          <pc:docMk/>
          <pc:sldMk cId="1744181820" sldId="601"/>
        </pc:sldMkLst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4" creationId="{5F1C9F11-F269-B085-AAA8-CA0CB7BCE7B4}"/>
          </ac:spMkLst>
        </pc:spChg>
        <pc:spChg chg="del">
          <ac:chgData name="Szmidt Mateusz" userId="65a76720-5d68-4247-bfbb-4498149d5e6c" providerId="ADAL" clId="{53F405C7-CDCB-4165-91CB-79F00C7648D2}" dt="2023-06-14T21:15:41.567" v="978" actId="478"/>
          <ac:spMkLst>
            <pc:docMk/>
            <pc:sldMk cId="1744181820" sldId="601"/>
            <ac:spMk id="4" creationId="{F85BECD0-8A47-52E9-8C96-7C8CDBC2CF09}"/>
          </ac:spMkLst>
        </pc:spChg>
        <pc:spChg chg="mod">
          <ac:chgData name="Szmidt Mateusz" userId="65a76720-5d68-4247-bfbb-4498149d5e6c" providerId="ADAL" clId="{53F405C7-CDCB-4165-91CB-79F00C7648D2}" dt="2023-06-14T22:45:15.757" v="1299" actId="20577"/>
          <ac:spMkLst>
            <pc:docMk/>
            <pc:sldMk cId="1744181820" sldId="601"/>
            <ac:spMk id="5" creationId="{7707A921-7F7A-40D6-B478-D13DE126928E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6" creationId="{555A78E0-4E0F-DFDA-C2C3-5BB3144B78D2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9" creationId="{DE2BE6D8-E6DE-0475-DCD1-D72236038EAD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10" creationId="{7BB1A5F4-78D8-6087-157B-E04840D5426F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11" creationId="{CF7AD2B3-1CD5-367C-BAFF-E55868ACDD26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12" creationId="{7482AC5A-4BF3-0834-1098-962B0F545396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13" creationId="{BFC8B091-4314-1572-F43E-13756A1BEC8E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14" creationId="{F665641D-C449-3B30-08C0-6192612745A5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15" creationId="{E22A7C7E-F39C-A639-B2F2-732D9506C0B1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16" creationId="{39CF4868-7A86-2CC2-FE3A-64EFF8355595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17" creationId="{CD5376C2-725D-85DB-007B-42C04C2F12CB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18" creationId="{B9E9BDC2-1AC8-901C-C510-71DF8A7CD301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19" creationId="{C0643A4D-18FC-5497-36A6-8EB9BD40E9E3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20" creationId="{F50DD205-78AF-56AF-D14E-46EE3A48BB0F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21" creationId="{53675D16-F926-A04C-74BA-170E43EDFD8D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22" creationId="{3C9CE6F2-85A2-0DD5-FC49-11D2DC84175B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23" creationId="{FE85DA00-B144-9CAD-E0DA-29530C1BAD0B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24" creationId="{E2FB0FC3-90F6-CB70-7220-38D2123634DD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25" creationId="{20E3BD24-6851-287C-9A36-5BAAF4DE2B6C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26" creationId="{7A419B9E-94E7-9347-4808-8D3B351056EE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27" creationId="{6915B0DE-EE95-9AD4-611D-631762E00EE3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28" creationId="{627AD563-A577-6348-3C74-C1AF7CB1E14B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29" creationId="{7CCCDBA4-DAF1-6D2A-BD1A-B89D8C35FB44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30" creationId="{AA1B0C09-3DCD-CC51-6B34-CB424D6BB09C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31" creationId="{053151C7-6052-A07B-1436-DEA9E7A67806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32" creationId="{8C77C93A-9A5E-475A-97D0-933250227956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33" creationId="{50944171-A0C8-5B66-9AC5-23A006E0F697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34" creationId="{24CF937A-407E-AFDE-4268-E89B40A793F7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35" creationId="{AE4310E8-A04D-ACE1-1963-1E0688BC0BC9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36" creationId="{ACD93359-B4F2-F99F-D8F7-86D98D391ADF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37" creationId="{EB40AD87-D1C9-8FE2-ABDB-51B9DAD27153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38" creationId="{6673496D-9C4F-41C3-9AEB-7FC501418388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39" creationId="{ECC8D158-A6AC-0598-E990-441FD0900D77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40" creationId="{E32C9427-33C2-482C-AB8E-8C19FF756F5E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41" creationId="{59980FF4-A36C-C2E5-7A64-3178E27EC9AA}"/>
          </ac:spMkLst>
        </pc:spChg>
        <pc:spChg chg="add del mod">
          <ac:chgData name="Szmidt Mateusz" userId="65a76720-5d68-4247-bfbb-4498149d5e6c" providerId="ADAL" clId="{53F405C7-CDCB-4165-91CB-79F00C7648D2}" dt="2023-06-15T09:28:40.100" v="2433" actId="478"/>
          <ac:spMkLst>
            <pc:docMk/>
            <pc:sldMk cId="1744181820" sldId="601"/>
            <ac:spMk id="43" creationId="{D613CECA-DFD8-FCE0-7829-653825656330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44" creationId="{613E15EF-C202-4E83-7919-B667A96CA2D8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45" creationId="{D34AD18E-9A37-3AE1-10B8-86FE388B652E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46" creationId="{2695B500-835B-2D61-3BDB-A8B66EC6AB67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47" creationId="{D30CAF17-C369-F3A3-050E-8B91C851058C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48" creationId="{807F1AA6-0A6F-45D1-681F-DDB35AAA5E36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49" creationId="{12B4D689-D1D1-741B-41F9-305602804BE7}"/>
          </ac:spMkLst>
        </pc:spChg>
        <pc:spChg chg="add mod">
          <ac:chgData name="Szmidt Mateusz" userId="65a76720-5d68-4247-bfbb-4498149d5e6c" providerId="ADAL" clId="{53F405C7-CDCB-4165-91CB-79F00C7648D2}" dt="2023-06-15T09:43:49.442" v="2931" actId="1076"/>
          <ac:spMkLst>
            <pc:docMk/>
            <pc:sldMk cId="1744181820" sldId="601"/>
            <ac:spMk id="51" creationId="{E07CC7E1-CD43-1FFC-94D9-D3219070B859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52" creationId="{B4628152-18A6-F03E-A810-091BDD6AC15A}"/>
          </ac:spMkLst>
        </pc:spChg>
        <pc:spChg chg="add mod">
          <ac:chgData name="Szmidt Mateusz" userId="65a76720-5d68-4247-bfbb-4498149d5e6c" providerId="ADAL" clId="{53F405C7-CDCB-4165-91CB-79F00C7648D2}" dt="2023-06-15T09:38:42.257" v="2751" actId="20577"/>
          <ac:spMkLst>
            <pc:docMk/>
            <pc:sldMk cId="1744181820" sldId="601"/>
            <ac:spMk id="53" creationId="{29662F8F-AA1B-A5B6-3102-31A66F76069F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54" creationId="{677DCC1A-3719-6B62-AF36-1A5ADD28ACD0}"/>
          </ac:spMkLst>
        </pc:spChg>
        <pc:spChg chg="add mod">
          <ac:chgData name="Szmidt Mateusz" userId="65a76720-5d68-4247-bfbb-4498149d5e6c" providerId="ADAL" clId="{53F405C7-CDCB-4165-91CB-79F00C7648D2}" dt="2023-06-15T09:29:11.089" v="2478" actId="14100"/>
          <ac:spMkLst>
            <pc:docMk/>
            <pc:sldMk cId="1744181820" sldId="601"/>
            <ac:spMk id="55" creationId="{046A2A76-47DB-A4BE-7F15-04A3130C27A7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56" creationId="{E16DB29D-9B21-07FD-9B72-1F75D621C055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57" creationId="{75148BEE-A8D5-E064-6B0A-BFD2C89A6095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58" creationId="{C5B618E0-45E1-D4EC-7155-43650A03A42C}"/>
          </ac:spMkLst>
        </pc:spChg>
        <pc:spChg chg="add mod">
          <ac:chgData name="Szmidt Mateusz" userId="65a76720-5d68-4247-bfbb-4498149d5e6c" providerId="ADAL" clId="{53F405C7-CDCB-4165-91CB-79F00C7648D2}" dt="2023-06-15T09:38:50.672" v="2754" actId="207"/>
          <ac:spMkLst>
            <pc:docMk/>
            <pc:sldMk cId="1744181820" sldId="601"/>
            <ac:spMk id="59" creationId="{6B8A1AA4-D4AE-8B9B-CCE7-A84FB34309E8}"/>
          </ac:spMkLst>
        </pc:spChg>
        <pc:spChg chg="add mod">
          <ac:chgData name="Szmidt Mateusz" userId="65a76720-5d68-4247-bfbb-4498149d5e6c" providerId="ADAL" clId="{53F405C7-CDCB-4165-91CB-79F00C7648D2}" dt="2023-06-15T09:38:44.662" v="2753" actId="20577"/>
          <ac:spMkLst>
            <pc:docMk/>
            <pc:sldMk cId="1744181820" sldId="601"/>
            <ac:spMk id="60" creationId="{DC0DEEF5-99FB-ACED-0CB0-8F58FD949749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61" creationId="{5942D060-5762-3CBB-28FA-0128EB414723}"/>
          </ac:spMkLst>
        </pc:spChg>
        <pc:spChg chg="add mod">
          <ac:chgData name="Szmidt Mateusz" userId="65a76720-5d68-4247-bfbb-4498149d5e6c" providerId="ADAL" clId="{53F405C7-CDCB-4165-91CB-79F00C7648D2}" dt="2023-06-15T09:37:29.876" v="2712" actId="20577"/>
          <ac:spMkLst>
            <pc:docMk/>
            <pc:sldMk cId="1744181820" sldId="601"/>
            <ac:spMk id="62" creationId="{8FBE5DA0-2EAF-D1F2-2B7C-BB89C6028D53}"/>
          </ac:spMkLst>
        </pc:spChg>
        <pc:spChg chg="add mod">
          <ac:chgData name="Szmidt Mateusz" userId="65a76720-5d68-4247-bfbb-4498149d5e6c" providerId="ADAL" clId="{53F405C7-CDCB-4165-91CB-79F00C7648D2}" dt="2023-06-15T09:41:14.158" v="2817" actId="1076"/>
          <ac:spMkLst>
            <pc:docMk/>
            <pc:sldMk cId="1744181820" sldId="601"/>
            <ac:spMk id="63" creationId="{FFB7177F-8327-A307-6923-3D61D2C64040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65" creationId="{B37F57AA-A286-7B94-6002-02D120B5377A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66" creationId="{36B30D90-CCDD-2018-EFD1-6641F0E4F333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67" creationId="{556C6936-EA8D-BA19-6487-7A3E49510893}"/>
          </ac:spMkLst>
        </pc:spChg>
        <pc:spChg chg="add mod">
          <ac:chgData name="Szmidt Mateusz" userId="65a76720-5d68-4247-bfbb-4498149d5e6c" providerId="ADAL" clId="{53F405C7-CDCB-4165-91CB-79F00C7648D2}" dt="2023-06-15T09:46:14.030" v="3170" actId="1076"/>
          <ac:spMkLst>
            <pc:docMk/>
            <pc:sldMk cId="1744181820" sldId="601"/>
            <ac:spMk id="68" creationId="{ABCEADD5-7978-1F57-B6CF-7B44902A8E71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69" creationId="{73AF3A87-A66B-8FFB-3A6A-6E7EDA2F4DE7}"/>
          </ac:spMkLst>
        </pc:spChg>
        <pc:spChg chg="add mod">
          <ac:chgData name="Szmidt Mateusz" userId="65a76720-5d68-4247-bfbb-4498149d5e6c" providerId="ADAL" clId="{53F405C7-CDCB-4165-91CB-79F00C7648D2}" dt="2023-06-15T09:38:53.789" v="2756" actId="20577"/>
          <ac:spMkLst>
            <pc:docMk/>
            <pc:sldMk cId="1744181820" sldId="601"/>
            <ac:spMk id="70" creationId="{3AB7C2B4-67A3-8595-317C-80E80FFCCB97}"/>
          </ac:spMkLst>
        </pc:spChg>
        <pc:spChg chg="add mod">
          <ac:chgData name="Szmidt Mateusz" userId="65a76720-5d68-4247-bfbb-4498149d5e6c" providerId="ADAL" clId="{53F405C7-CDCB-4165-91CB-79F00C7648D2}" dt="2023-06-15T09:28:40.307" v="2434"/>
          <ac:spMkLst>
            <pc:docMk/>
            <pc:sldMk cId="1744181820" sldId="601"/>
            <ac:spMk id="71" creationId="{BE3A76AC-A9C2-7AD7-A0DA-CD88141C76CD}"/>
          </ac:spMkLst>
        </pc:spChg>
        <pc:spChg chg="add mod">
          <ac:chgData name="Szmidt Mateusz" userId="65a76720-5d68-4247-bfbb-4498149d5e6c" providerId="ADAL" clId="{53F405C7-CDCB-4165-91CB-79F00C7648D2}" dt="2023-06-15T09:38:03.286" v="2741" actId="20577"/>
          <ac:spMkLst>
            <pc:docMk/>
            <pc:sldMk cId="1744181820" sldId="601"/>
            <ac:spMk id="72" creationId="{0A9F8785-8E30-4F76-CD7A-11C2CCEA415D}"/>
          </ac:spMkLst>
        </pc:spChg>
        <pc:spChg chg="add mod">
          <ac:chgData name="Szmidt Mateusz" userId="65a76720-5d68-4247-bfbb-4498149d5e6c" providerId="ADAL" clId="{53F405C7-CDCB-4165-91CB-79F00C7648D2}" dt="2023-06-15T09:43:33.323" v="2930" actId="20577"/>
          <ac:spMkLst>
            <pc:docMk/>
            <pc:sldMk cId="1744181820" sldId="601"/>
            <ac:spMk id="74" creationId="{A87C2269-5EE1-5919-FAA9-7DA8F372C795}"/>
          </ac:spMkLst>
        </pc:spChg>
        <pc:picChg chg="add del mod">
          <ac:chgData name="Szmidt Mateusz" userId="65a76720-5d68-4247-bfbb-4498149d5e6c" providerId="ADAL" clId="{53F405C7-CDCB-4165-91CB-79F00C7648D2}" dt="2023-06-15T09:28:40.100" v="2433" actId="478"/>
          <ac:picMkLst>
            <pc:docMk/>
            <pc:sldMk cId="1744181820" sldId="601"/>
            <ac:picMk id="42" creationId="{590DEC7F-7E1B-9BCB-877C-3B4A8CF79238}"/>
          </ac:picMkLst>
        </pc:picChg>
        <pc:picChg chg="add del mod">
          <ac:chgData name="Szmidt Mateusz" userId="65a76720-5d68-4247-bfbb-4498149d5e6c" providerId="ADAL" clId="{53F405C7-CDCB-4165-91CB-79F00C7648D2}" dt="2023-06-15T09:29:20.981" v="2479" actId="478"/>
          <ac:picMkLst>
            <pc:docMk/>
            <pc:sldMk cId="1744181820" sldId="601"/>
            <ac:picMk id="50" creationId="{A6001E62-DDE6-2EF4-5351-187286D220B8}"/>
          </ac:picMkLst>
        </pc:picChg>
        <pc:picChg chg="add del mod">
          <ac:chgData name="Szmidt Mateusz" userId="65a76720-5d68-4247-bfbb-4498149d5e6c" providerId="ADAL" clId="{53F405C7-CDCB-4165-91CB-79F00C7648D2}" dt="2023-06-15T09:38:05.894" v="2742" actId="21"/>
          <ac:picMkLst>
            <pc:docMk/>
            <pc:sldMk cId="1744181820" sldId="601"/>
            <ac:picMk id="64" creationId="{33A722E1-51D5-5251-8DB8-1ADFE36B1E63}"/>
          </ac:picMkLst>
        </pc:picChg>
        <pc:picChg chg="add mod">
          <ac:chgData name="Szmidt Mateusz" userId="65a76720-5d68-4247-bfbb-4498149d5e6c" providerId="ADAL" clId="{53F405C7-CDCB-4165-91CB-79F00C7648D2}" dt="2023-06-15T09:38:13.777" v="2744" actId="1076"/>
          <ac:picMkLst>
            <pc:docMk/>
            <pc:sldMk cId="1744181820" sldId="601"/>
            <ac:picMk id="73" creationId="{318A4F9A-7DB1-17AB-47DA-C77CB3483365}"/>
          </ac:picMkLst>
        </pc:picChg>
      </pc:sldChg>
      <pc:sldChg chg="addSp delSp modSp add mod">
        <pc:chgData name="Szmidt Mateusz" userId="65a76720-5d68-4247-bfbb-4498149d5e6c" providerId="ADAL" clId="{53F405C7-CDCB-4165-91CB-79F00C7648D2}" dt="2023-06-15T10:29:35.489" v="4460" actId="1076"/>
        <pc:sldMkLst>
          <pc:docMk/>
          <pc:sldMk cId="258680752" sldId="602"/>
        </pc:sldMkLst>
        <pc:spChg chg="add del mod">
          <ac:chgData name="Szmidt Mateusz" userId="65a76720-5d68-4247-bfbb-4498149d5e6c" providerId="ADAL" clId="{53F405C7-CDCB-4165-91CB-79F00C7648D2}" dt="2023-06-15T09:46:25.491" v="3172" actId="478"/>
          <ac:spMkLst>
            <pc:docMk/>
            <pc:sldMk cId="258680752" sldId="602"/>
            <ac:spMk id="4" creationId="{7DB4B386-3906-24EB-8408-13F3EA2D2100}"/>
          </ac:spMkLst>
        </pc:spChg>
        <pc:spChg chg="del">
          <ac:chgData name="Szmidt Mateusz" userId="65a76720-5d68-4247-bfbb-4498149d5e6c" providerId="ADAL" clId="{53F405C7-CDCB-4165-91CB-79F00C7648D2}" dt="2023-06-14T21:15:00.815" v="977" actId="478"/>
          <ac:spMkLst>
            <pc:docMk/>
            <pc:sldMk cId="258680752" sldId="602"/>
            <ac:spMk id="4" creationId="{F85BECD0-8A47-52E9-8C96-7C8CDBC2CF09}"/>
          </ac:spMkLst>
        </pc:spChg>
        <pc:spChg chg="mod">
          <ac:chgData name="Szmidt Mateusz" userId="65a76720-5d68-4247-bfbb-4498149d5e6c" providerId="ADAL" clId="{53F405C7-CDCB-4165-91CB-79F00C7648D2}" dt="2023-06-14T22:45:19.876" v="1300" actId="20577"/>
          <ac:spMkLst>
            <pc:docMk/>
            <pc:sldMk cId="258680752" sldId="602"/>
            <ac:spMk id="5" creationId="{7707A921-7F7A-40D6-B478-D13DE126928E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10" creationId="{2CC469F1-2CF2-8A22-02E3-BA351E785A12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11" creationId="{20376BA9-F374-BDFB-040F-98297C1A3AF1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12" creationId="{17CB8579-84AD-DFDE-BE3A-0B22807B3EF8}"/>
          </ac:spMkLst>
        </pc:spChg>
        <pc:spChg chg="add mod">
          <ac:chgData name="Szmidt Mateusz" userId="65a76720-5d68-4247-bfbb-4498149d5e6c" providerId="ADAL" clId="{53F405C7-CDCB-4165-91CB-79F00C7648D2}" dt="2023-06-15T10:08:23.744" v="4138" actId="1076"/>
          <ac:spMkLst>
            <pc:docMk/>
            <pc:sldMk cId="258680752" sldId="602"/>
            <ac:spMk id="13" creationId="{01BDE8CB-3259-4D46-6568-444E9DCB72E8}"/>
          </ac:spMkLst>
        </pc:spChg>
        <pc:spChg chg="add mod">
          <ac:chgData name="Szmidt Mateusz" userId="65a76720-5d68-4247-bfbb-4498149d5e6c" providerId="ADAL" clId="{53F405C7-CDCB-4165-91CB-79F00C7648D2}" dt="2023-06-15T10:08:23.744" v="4138" actId="1076"/>
          <ac:spMkLst>
            <pc:docMk/>
            <pc:sldMk cId="258680752" sldId="602"/>
            <ac:spMk id="14" creationId="{A08CFDD4-563B-50AA-E853-5D30B53A45B9}"/>
          </ac:spMkLst>
        </pc:spChg>
        <pc:spChg chg="add mod">
          <ac:chgData name="Szmidt Mateusz" userId="65a76720-5d68-4247-bfbb-4498149d5e6c" providerId="ADAL" clId="{53F405C7-CDCB-4165-91CB-79F00C7648D2}" dt="2023-06-15T10:08:23.744" v="4138" actId="1076"/>
          <ac:spMkLst>
            <pc:docMk/>
            <pc:sldMk cId="258680752" sldId="602"/>
            <ac:spMk id="15" creationId="{D833D0E2-A75A-E3A2-1310-EB7B23E3B967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16" creationId="{D3739276-78B4-DA67-978C-EFEF006C7361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17" creationId="{38A776BE-9426-02CB-9BCE-F5E3676E21F5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18" creationId="{F9C59352-FC06-C78E-FB53-21275B365CCE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19" creationId="{8327BC4D-2E71-66ED-3657-BE4F8CE1D203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20" creationId="{070B0B24-558C-9502-2A87-948E2A7A33E5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21" creationId="{01BC9310-EF8E-C8EE-E6BB-CB7782BA5BA6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22" creationId="{E3D81D32-B3F7-F0F8-8E7C-5F36EF2C2AFA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23" creationId="{4DFFD784-4393-11C6-F2DD-93B36FD34534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24" creationId="{274E3537-9F22-BBB8-168B-E710199D3F4B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25" creationId="{BBC08450-FCD8-E565-B0A9-BAD15277CFDD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26" creationId="{2A40A425-669F-8941-EA0B-47E66378589F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27" creationId="{33A7AFA6-E211-B6AB-7471-517BC6DDFD6E}"/>
          </ac:spMkLst>
        </pc:spChg>
        <pc:spChg chg="add del mod">
          <ac:chgData name="Szmidt Mateusz" userId="65a76720-5d68-4247-bfbb-4498149d5e6c" providerId="ADAL" clId="{53F405C7-CDCB-4165-91CB-79F00C7648D2}" dt="2023-06-15T09:46:38.220" v="3174" actId="478"/>
          <ac:spMkLst>
            <pc:docMk/>
            <pc:sldMk cId="258680752" sldId="602"/>
            <ac:spMk id="28" creationId="{91268B5B-9CD6-AF03-2EAC-F757F4CA5ABE}"/>
          </ac:spMkLst>
        </pc:spChg>
        <pc:spChg chg="add mod">
          <ac:chgData name="Szmidt Mateusz" userId="65a76720-5d68-4247-bfbb-4498149d5e6c" providerId="ADAL" clId="{53F405C7-CDCB-4165-91CB-79F00C7648D2}" dt="2023-06-15T10:08:23.744" v="4138" actId="1076"/>
          <ac:spMkLst>
            <pc:docMk/>
            <pc:sldMk cId="258680752" sldId="602"/>
            <ac:spMk id="29" creationId="{6BF57F4B-7ABE-0ED8-815A-924C120A6BC5}"/>
          </ac:spMkLst>
        </pc:spChg>
        <pc:spChg chg="add mod">
          <ac:chgData name="Szmidt Mateusz" userId="65a76720-5d68-4247-bfbb-4498149d5e6c" providerId="ADAL" clId="{53F405C7-CDCB-4165-91CB-79F00C7648D2}" dt="2023-06-15T10:08:23.744" v="4138" actId="1076"/>
          <ac:spMkLst>
            <pc:docMk/>
            <pc:sldMk cId="258680752" sldId="602"/>
            <ac:spMk id="30" creationId="{A41A2365-7890-00FB-63D7-76362A359C51}"/>
          </ac:spMkLst>
        </pc:spChg>
        <pc:spChg chg="add mod">
          <ac:chgData name="Szmidt Mateusz" userId="65a76720-5d68-4247-bfbb-4498149d5e6c" providerId="ADAL" clId="{53F405C7-CDCB-4165-91CB-79F00C7648D2}" dt="2023-06-15T10:08:23.744" v="4138" actId="1076"/>
          <ac:spMkLst>
            <pc:docMk/>
            <pc:sldMk cId="258680752" sldId="602"/>
            <ac:spMk id="31" creationId="{C44C490E-CC2F-B7A4-631C-A09646E74157}"/>
          </ac:spMkLst>
        </pc:spChg>
        <pc:spChg chg="add del mod">
          <ac:chgData name="Szmidt Mateusz" userId="65a76720-5d68-4247-bfbb-4498149d5e6c" providerId="ADAL" clId="{53F405C7-CDCB-4165-91CB-79F00C7648D2}" dt="2023-06-15T09:49:48.831" v="3299"/>
          <ac:spMkLst>
            <pc:docMk/>
            <pc:sldMk cId="258680752" sldId="602"/>
            <ac:spMk id="32" creationId="{EF951556-8BD0-1077-2DB8-65E0BEDD0A8D}"/>
          </ac:spMkLst>
        </pc:spChg>
        <pc:spChg chg="add mod">
          <ac:chgData name="Szmidt Mateusz" userId="65a76720-5d68-4247-bfbb-4498149d5e6c" providerId="ADAL" clId="{53F405C7-CDCB-4165-91CB-79F00C7648D2}" dt="2023-06-15T10:08:23.744" v="4138" actId="1076"/>
          <ac:spMkLst>
            <pc:docMk/>
            <pc:sldMk cId="258680752" sldId="602"/>
            <ac:spMk id="33" creationId="{0EAD24E0-4123-4655-1B8C-CE73B8EBEACD}"/>
          </ac:spMkLst>
        </pc:spChg>
        <pc:spChg chg="add mod">
          <ac:chgData name="Szmidt Mateusz" userId="65a76720-5d68-4247-bfbb-4498149d5e6c" providerId="ADAL" clId="{53F405C7-CDCB-4165-91CB-79F00C7648D2}" dt="2023-06-15T10:08:23.744" v="4138" actId="1076"/>
          <ac:spMkLst>
            <pc:docMk/>
            <pc:sldMk cId="258680752" sldId="602"/>
            <ac:spMk id="34" creationId="{0D5A4CDE-1C36-A64A-6D0D-3F036FFB6E40}"/>
          </ac:spMkLst>
        </pc:spChg>
        <pc:spChg chg="add mod">
          <ac:chgData name="Szmidt Mateusz" userId="65a76720-5d68-4247-bfbb-4498149d5e6c" providerId="ADAL" clId="{53F405C7-CDCB-4165-91CB-79F00C7648D2}" dt="2023-06-15T10:08:23.744" v="4138" actId="1076"/>
          <ac:spMkLst>
            <pc:docMk/>
            <pc:sldMk cId="258680752" sldId="602"/>
            <ac:spMk id="35" creationId="{6A93FFD3-39DF-235F-9CA7-C2BC8064827E}"/>
          </ac:spMkLst>
        </pc:spChg>
        <pc:spChg chg="add mod">
          <ac:chgData name="Szmidt Mateusz" userId="65a76720-5d68-4247-bfbb-4498149d5e6c" providerId="ADAL" clId="{53F405C7-CDCB-4165-91CB-79F00C7648D2}" dt="2023-06-15T10:08:23.744" v="4138" actId="1076"/>
          <ac:spMkLst>
            <pc:docMk/>
            <pc:sldMk cId="258680752" sldId="602"/>
            <ac:spMk id="36" creationId="{ACF7720E-89CE-EAC1-35F1-CC8D3E4DFE6B}"/>
          </ac:spMkLst>
        </pc:spChg>
        <pc:spChg chg="add del mod">
          <ac:chgData name="Szmidt Mateusz" userId="65a76720-5d68-4247-bfbb-4498149d5e6c" providerId="ADAL" clId="{53F405C7-CDCB-4165-91CB-79F00C7648D2}" dt="2023-06-15T10:29:28.900" v="4457" actId="478"/>
          <ac:spMkLst>
            <pc:docMk/>
            <pc:sldMk cId="258680752" sldId="602"/>
            <ac:spMk id="38" creationId="{83C17B9F-C439-BA17-ECB4-FE67C20EF0D4}"/>
          </ac:spMkLst>
        </pc:spChg>
        <pc:picChg chg="add mod">
          <ac:chgData name="Szmidt Mateusz" userId="65a76720-5d68-4247-bfbb-4498149d5e6c" providerId="ADAL" clId="{53F405C7-CDCB-4165-91CB-79F00C7648D2}" dt="2023-06-15T09:46:33.532" v="3173"/>
          <ac:picMkLst>
            <pc:docMk/>
            <pc:sldMk cId="258680752" sldId="602"/>
            <ac:picMk id="6" creationId="{806BE32B-6376-959B-DE2B-2FB0B0585E78}"/>
          </ac:picMkLst>
        </pc:picChg>
        <pc:picChg chg="add mod">
          <ac:chgData name="Szmidt Mateusz" userId="65a76720-5d68-4247-bfbb-4498149d5e6c" providerId="ADAL" clId="{53F405C7-CDCB-4165-91CB-79F00C7648D2}" dt="2023-06-15T09:46:33.532" v="3173"/>
          <ac:picMkLst>
            <pc:docMk/>
            <pc:sldMk cId="258680752" sldId="602"/>
            <ac:picMk id="9" creationId="{F378302C-3E3A-5711-19AC-D2A19F5224D9}"/>
          </ac:picMkLst>
        </pc:picChg>
        <pc:picChg chg="add mod">
          <ac:chgData name="Szmidt Mateusz" userId="65a76720-5d68-4247-bfbb-4498149d5e6c" providerId="ADAL" clId="{53F405C7-CDCB-4165-91CB-79F00C7648D2}" dt="2023-06-15T10:08:23.744" v="4138" actId="1076"/>
          <ac:picMkLst>
            <pc:docMk/>
            <pc:sldMk cId="258680752" sldId="602"/>
            <ac:picMk id="37" creationId="{F47E9617-F7E9-6475-2DD9-437D86D8C74D}"/>
          </ac:picMkLst>
        </pc:picChg>
        <pc:picChg chg="add del mod">
          <ac:chgData name="Szmidt Mateusz" userId="65a76720-5d68-4247-bfbb-4498149d5e6c" providerId="ADAL" clId="{53F405C7-CDCB-4165-91CB-79F00C7648D2}" dt="2023-06-15T10:08:10.954" v="4135" actId="478"/>
          <ac:picMkLst>
            <pc:docMk/>
            <pc:sldMk cId="258680752" sldId="602"/>
            <ac:picMk id="39" creationId="{1F8E80CB-FA6F-94B8-7341-08C4D6AA698B}"/>
          </ac:picMkLst>
        </pc:picChg>
        <pc:picChg chg="add del mod">
          <ac:chgData name="Szmidt Mateusz" userId="65a76720-5d68-4247-bfbb-4498149d5e6c" providerId="ADAL" clId="{53F405C7-CDCB-4165-91CB-79F00C7648D2}" dt="2023-06-15T10:28:59.175" v="4453" actId="478"/>
          <ac:picMkLst>
            <pc:docMk/>
            <pc:sldMk cId="258680752" sldId="602"/>
            <ac:picMk id="41" creationId="{41532977-0A6D-B066-3D2B-7C950B92BCCD}"/>
          </ac:picMkLst>
        </pc:picChg>
        <pc:picChg chg="add mod">
          <ac:chgData name="Szmidt Mateusz" userId="65a76720-5d68-4247-bfbb-4498149d5e6c" providerId="ADAL" clId="{53F405C7-CDCB-4165-91CB-79F00C7648D2}" dt="2023-06-15T10:29:35.489" v="4460" actId="1076"/>
          <ac:picMkLst>
            <pc:docMk/>
            <pc:sldMk cId="258680752" sldId="602"/>
            <ac:picMk id="43" creationId="{8B5F85C3-90EC-70D9-5665-3A6C750B7AE2}"/>
          </ac:picMkLst>
        </pc:picChg>
      </pc:sldChg>
      <pc:sldChg chg="addSp delSp modSp add mod">
        <pc:chgData name="Szmidt Mateusz" userId="65a76720-5d68-4247-bfbb-4498149d5e6c" providerId="ADAL" clId="{53F405C7-CDCB-4165-91CB-79F00C7648D2}" dt="2023-06-15T10:50:33.554" v="4475" actId="1076"/>
        <pc:sldMkLst>
          <pc:docMk/>
          <pc:sldMk cId="2978098844" sldId="603"/>
        </pc:sldMkLst>
        <pc:spChg chg="del mod">
          <ac:chgData name="Szmidt Mateusz" userId="65a76720-5d68-4247-bfbb-4498149d5e6c" providerId="ADAL" clId="{53F405C7-CDCB-4165-91CB-79F00C7648D2}" dt="2023-06-14T21:14:55.810" v="976" actId="478"/>
          <ac:spMkLst>
            <pc:docMk/>
            <pc:sldMk cId="2978098844" sldId="603"/>
            <ac:spMk id="4" creationId="{F85BECD0-8A47-52E9-8C96-7C8CDBC2CF09}"/>
          </ac:spMkLst>
        </pc:spChg>
        <pc:spChg chg="mod">
          <ac:chgData name="Szmidt Mateusz" userId="65a76720-5d68-4247-bfbb-4498149d5e6c" providerId="ADAL" clId="{53F405C7-CDCB-4165-91CB-79F00C7648D2}" dt="2023-06-14T22:46:19.845" v="1381" actId="20577"/>
          <ac:spMkLst>
            <pc:docMk/>
            <pc:sldMk cId="2978098844" sldId="603"/>
            <ac:spMk id="5" creationId="{7707A921-7F7A-40D6-B478-D13DE126928E}"/>
          </ac:spMkLst>
        </pc:spChg>
        <pc:picChg chg="add mod">
          <ac:chgData name="Szmidt Mateusz" userId="65a76720-5d68-4247-bfbb-4498149d5e6c" providerId="ADAL" clId="{53F405C7-CDCB-4165-91CB-79F00C7648D2}" dt="2023-06-15T10:50:33.554" v="4475" actId="1076"/>
          <ac:picMkLst>
            <pc:docMk/>
            <pc:sldMk cId="2978098844" sldId="603"/>
            <ac:picMk id="6" creationId="{A57F47DE-1823-3038-0070-C8DF60ECC699}"/>
          </ac:picMkLst>
        </pc:picChg>
      </pc:sldChg>
      <pc:sldChg chg="addSp delSp modSp add del mod">
        <pc:chgData name="Szmidt Mateusz" userId="65a76720-5d68-4247-bfbb-4498149d5e6c" providerId="ADAL" clId="{53F405C7-CDCB-4165-91CB-79F00C7648D2}" dt="2023-06-15T10:45:30.596" v="4461" actId="47"/>
        <pc:sldMkLst>
          <pc:docMk/>
          <pc:sldMk cId="479008182" sldId="604"/>
        </pc:sldMkLst>
        <pc:spChg chg="mod">
          <ac:chgData name="Szmidt Mateusz" userId="65a76720-5d68-4247-bfbb-4498149d5e6c" providerId="ADAL" clId="{53F405C7-CDCB-4165-91CB-79F00C7648D2}" dt="2023-06-14T21:19:37.153" v="1029" actId="20577"/>
          <ac:spMkLst>
            <pc:docMk/>
            <pc:sldMk cId="479008182" sldId="604"/>
            <ac:spMk id="3" creationId="{CDD4CA8E-230B-05B0-3394-66E5729B0B13}"/>
          </ac:spMkLst>
        </pc:spChg>
        <pc:spChg chg="mod">
          <ac:chgData name="Szmidt Mateusz" userId="65a76720-5d68-4247-bfbb-4498149d5e6c" providerId="ADAL" clId="{53F405C7-CDCB-4165-91CB-79F00C7648D2}" dt="2023-06-14T21:21:46.145" v="1041" actId="20577"/>
          <ac:spMkLst>
            <pc:docMk/>
            <pc:sldMk cId="479008182" sldId="604"/>
            <ac:spMk id="4" creationId="{00000000-0000-0000-0000-000000000000}"/>
          </ac:spMkLst>
        </pc:spChg>
        <pc:spChg chg="mod">
          <ac:chgData name="Szmidt Mateusz" userId="65a76720-5d68-4247-bfbb-4498149d5e6c" providerId="ADAL" clId="{53F405C7-CDCB-4165-91CB-79F00C7648D2}" dt="2023-06-14T21:19:10.533" v="1022" actId="1076"/>
          <ac:spMkLst>
            <pc:docMk/>
            <pc:sldMk cId="479008182" sldId="604"/>
            <ac:spMk id="5" creationId="{E12EF8E1-0C65-4D37-9DE5-65680CF9D067}"/>
          </ac:spMkLst>
        </pc:spChg>
        <pc:spChg chg="mod">
          <ac:chgData name="Szmidt Mateusz" userId="65a76720-5d68-4247-bfbb-4498149d5e6c" providerId="ADAL" clId="{53F405C7-CDCB-4165-91CB-79F00C7648D2}" dt="2023-06-14T21:17:26.604" v="1006" actId="1076"/>
          <ac:spMkLst>
            <pc:docMk/>
            <pc:sldMk cId="479008182" sldId="604"/>
            <ac:spMk id="6" creationId="{00000000-0000-0000-0000-000000000000}"/>
          </ac:spMkLst>
        </pc:spChg>
        <pc:spChg chg="mod">
          <ac:chgData name="Szmidt Mateusz" userId="65a76720-5d68-4247-bfbb-4498149d5e6c" providerId="ADAL" clId="{53F405C7-CDCB-4165-91CB-79F00C7648D2}" dt="2023-06-14T21:19:10.533" v="1022" actId="1076"/>
          <ac:spMkLst>
            <pc:docMk/>
            <pc:sldMk cId="479008182" sldId="604"/>
            <ac:spMk id="7" creationId="{6B130BF0-21A7-EAFF-2F34-34928C950DD2}"/>
          </ac:spMkLst>
        </pc:spChg>
        <pc:spChg chg="mod">
          <ac:chgData name="Szmidt Mateusz" userId="65a76720-5d68-4247-bfbb-4498149d5e6c" providerId="ADAL" clId="{53F405C7-CDCB-4165-91CB-79F00C7648D2}" dt="2023-06-14T21:21:35.843" v="1039" actId="20577"/>
          <ac:spMkLst>
            <pc:docMk/>
            <pc:sldMk cId="479008182" sldId="604"/>
            <ac:spMk id="10" creationId="{00000000-0000-0000-0000-000000000000}"/>
          </ac:spMkLst>
        </pc:spChg>
        <pc:spChg chg="add del mod">
          <ac:chgData name="Szmidt Mateusz" userId="65a76720-5d68-4247-bfbb-4498149d5e6c" providerId="ADAL" clId="{53F405C7-CDCB-4165-91CB-79F00C7648D2}" dt="2023-06-14T21:23:57.248" v="1113"/>
          <ac:spMkLst>
            <pc:docMk/>
            <pc:sldMk cId="479008182" sldId="604"/>
            <ac:spMk id="11" creationId="{11A8FB03-1259-2688-28AF-97CEFBC0100A}"/>
          </ac:spMkLst>
        </pc:spChg>
        <pc:spChg chg="mod">
          <ac:chgData name="Szmidt Mateusz" userId="65a76720-5d68-4247-bfbb-4498149d5e6c" providerId="ADAL" clId="{53F405C7-CDCB-4165-91CB-79F00C7648D2}" dt="2023-06-14T21:22:54.770" v="1085" actId="20577"/>
          <ac:spMkLst>
            <pc:docMk/>
            <pc:sldMk cId="479008182" sldId="604"/>
            <ac:spMk id="12" creationId="{00000000-0000-0000-0000-000000000000}"/>
          </ac:spMkLst>
        </pc:spChg>
        <pc:spChg chg="mod">
          <ac:chgData name="Szmidt Mateusz" userId="65a76720-5d68-4247-bfbb-4498149d5e6c" providerId="ADAL" clId="{53F405C7-CDCB-4165-91CB-79F00C7648D2}" dt="2023-06-14T21:19:38.246" v="1031" actId="20577"/>
          <ac:spMkLst>
            <pc:docMk/>
            <pc:sldMk cId="479008182" sldId="604"/>
            <ac:spMk id="13" creationId="{7F1AA62B-47F2-8DD8-086C-C28E27AF4D1C}"/>
          </ac:spMkLst>
        </pc:spChg>
        <pc:spChg chg="mod">
          <ac:chgData name="Szmidt Mateusz" userId="65a76720-5d68-4247-bfbb-4498149d5e6c" providerId="ADAL" clId="{53F405C7-CDCB-4165-91CB-79F00C7648D2}" dt="2023-06-14T21:23:09.359" v="1099" actId="20577"/>
          <ac:spMkLst>
            <pc:docMk/>
            <pc:sldMk cId="479008182" sldId="604"/>
            <ac:spMk id="14" creationId="{00000000-0000-0000-0000-000000000000}"/>
          </ac:spMkLst>
        </pc:spChg>
        <pc:spChg chg="add mod">
          <ac:chgData name="Szmidt Mateusz" userId="65a76720-5d68-4247-bfbb-4498149d5e6c" providerId="ADAL" clId="{53F405C7-CDCB-4165-91CB-79F00C7648D2}" dt="2023-06-14T21:24:12.063" v="1115" actId="1076"/>
          <ac:spMkLst>
            <pc:docMk/>
            <pc:sldMk cId="479008182" sldId="604"/>
            <ac:spMk id="15" creationId="{D64D270A-0135-32C4-001F-D8C247986BC4}"/>
          </ac:spMkLst>
        </pc:spChg>
        <pc:spChg chg="mod">
          <ac:chgData name="Szmidt Mateusz" userId="65a76720-5d68-4247-bfbb-4498149d5e6c" providerId="ADAL" clId="{53F405C7-CDCB-4165-91CB-79F00C7648D2}" dt="2023-06-14T21:19:00.926" v="1021" actId="1076"/>
          <ac:spMkLst>
            <pc:docMk/>
            <pc:sldMk cId="479008182" sldId="604"/>
            <ac:spMk id="16" creationId="{00000000-0000-0000-0000-000000000000}"/>
          </ac:spMkLst>
        </pc:spChg>
        <pc:spChg chg="add mod">
          <ac:chgData name="Szmidt Mateusz" userId="65a76720-5d68-4247-bfbb-4498149d5e6c" providerId="ADAL" clId="{53F405C7-CDCB-4165-91CB-79F00C7648D2}" dt="2023-06-14T21:24:43.423" v="1123"/>
          <ac:spMkLst>
            <pc:docMk/>
            <pc:sldMk cId="479008182" sldId="604"/>
            <ac:spMk id="17" creationId="{BF3DBE43-9503-33A3-5DDC-9E0D35040FD1}"/>
          </ac:spMkLst>
        </pc:spChg>
        <pc:spChg chg="mod">
          <ac:chgData name="Szmidt Mateusz" userId="65a76720-5d68-4247-bfbb-4498149d5e6c" providerId="ADAL" clId="{53F405C7-CDCB-4165-91CB-79F00C7648D2}" dt="2023-06-14T21:17:26.604" v="1006" actId="1076"/>
          <ac:spMkLst>
            <pc:docMk/>
            <pc:sldMk cId="479008182" sldId="604"/>
            <ac:spMk id="18" creationId="{00000000-0000-0000-0000-000000000000}"/>
          </ac:spMkLst>
        </pc:spChg>
        <pc:spChg chg="mod">
          <ac:chgData name="Szmidt Mateusz" userId="65a76720-5d68-4247-bfbb-4498149d5e6c" providerId="ADAL" clId="{53F405C7-CDCB-4165-91CB-79F00C7648D2}" dt="2023-06-14T21:25:44.299" v="1141" actId="1076"/>
          <ac:spMkLst>
            <pc:docMk/>
            <pc:sldMk cId="479008182" sldId="604"/>
            <ac:spMk id="20" creationId="{00000000-0000-0000-0000-000000000000}"/>
          </ac:spMkLst>
        </pc:spChg>
        <pc:spChg chg="add mod">
          <ac:chgData name="Szmidt Mateusz" userId="65a76720-5d68-4247-bfbb-4498149d5e6c" providerId="ADAL" clId="{53F405C7-CDCB-4165-91CB-79F00C7648D2}" dt="2023-06-14T21:24:58.042" v="1127" actId="1076"/>
          <ac:spMkLst>
            <pc:docMk/>
            <pc:sldMk cId="479008182" sldId="604"/>
            <ac:spMk id="21" creationId="{66E85DCE-EC1E-8253-216D-7604698395D8}"/>
          </ac:spMkLst>
        </pc:spChg>
        <pc:spChg chg="add mod">
          <ac:chgData name="Szmidt Mateusz" userId="65a76720-5d68-4247-bfbb-4498149d5e6c" providerId="ADAL" clId="{53F405C7-CDCB-4165-91CB-79F00C7648D2}" dt="2023-06-14T21:25:15.086" v="1132"/>
          <ac:spMkLst>
            <pc:docMk/>
            <pc:sldMk cId="479008182" sldId="604"/>
            <ac:spMk id="22" creationId="{72C83F62-DDB0-78B7-1EA6-C7FF660B5576}"/>
          </ac:spMkLst>
        </pc:spChg>
        <pc:spChg chg="mod">
          <ac:chgData name="Szmidt Mateusz" userId="65a76720-5d68-4247-bfbb-4498149d5e6c" providerId="ADAL" clId="{53F405C7-CDCB-4165-91CB-79F00C7648D2}" dt="2023-06-14T21:22:23.467" v="1070"/>
          <ac:spMkLst>
            <pc:docMk/>
            <pc:sldMk cId="479008182" sldId="604"/>
            <ac:spMk id="23" creationId="{1DD1A981-4529-CB9F-BD37-B7AEBAC6EA4A}"/>
          </ac:spMkLst>
        </pc:spChg>
        <pc:spChg chg="mod">
          <ac:chgData name="Szmidt Mateusz" userId="65a76720-5d68-4247-bfbb-4498149d5e6c" providerId="ADAL" clId="{53F405C7-CDCB-4165-91CB-79F00C7648D2}" dt="2023-06-14T21:23:24.609" v="1100"/>
          <ac:spMkLst>
            <pc:docMk/>
            <pc:sldMk cId="479008182" sldId="604"/>
            <ac:spMk id="25" creationId="{C9A36855-B90F-2B77-CA50-6010BED87FF2}"/>
          </ac:spMkLst>
        </pc:spChg>
        <pc:spChg chg="add del">
          <ac:chgData name="Szmidt Mateusz" userId="65a76720-5d68-4247-bfbb-4498149d5e6c" providerId="ADAL" clId="{53F405C7-CDCB-4165-91CB-79F00C7648D2}" dt="2023-06-14T21:25:17.789" v="1134" actId="22"/>
          <ac:spMkLst>
            <pc:docMk/>
            <pc:sldMk cId="479008182" sldId="604"/>
            <ac:spMk id="26" creationId="{56A23114-9D5E-9BDD-CCF2-44350709CB06}"/>
          </ac:spMkLst>
        </pc:spChg>
        <pc:spChg chg="mod">
          <ac:chgData name="Szmidt Mateusz" userId="65a76720-5d68-4247-bfbb-4498149d5e6c" providerId="ADAL" clId="{53F405C7-CDCB-4165-91CB-79F00C7648D2}" dt="2023-06-14T21:19:37.495" v="1030" actId="20577"/>
          <ac:spMkLst>
            <pc:docMk/>
            <pc:sldMk cId="479008182" sldId="604"/>
            <ac:spMk id="27" creationId="{F64682F4-B73F-0CDB-BB95-096B0B3593D7}"/>
          </ac:spMkLst>
        </pc:spChg>
        <pc:spChg chg="add mod">
          <ac:chgData name="Szmidt Mateusz" userId="65a76720-5d68-4247-bfbb-4498149d5e6c" providerId="ADAL" clId="{53F405C7-CDCB-4165-91CB-79F00C7648D2}" dt="2023-06-14T21:25:25.191" v="1136" actId="1076"/>
          <ac:spMkLst>
            <pc:docMk/>
            <pc:sldMk cId="479008182" sldId="604"/>
            <ac:spMk id="28" creationId="{8F74F0A2-AF48-E0D8-454D-220030D6F63B}"/>
          </ac:spMkLst>
        </pc:spChg>
        <pc:spChg chg="mod">
          <ac:chgData name="Szmidt Mateusz" userId="65a76720-5d68-4247-bfbb-4498149d5e6c" providerId="ADAL" clId="{53F405C7-CDCB-4165-91CB-79F00C7648D2}" dt="2023-06-14T21:19:00.926" v="1021" actId="1076"/>
          <ac:spMkLst>
            <pc:docMk/>
            <pc:sldMk cId="479008182" sldId="604"/>
            <ac:spMk id="29" creationId="{DFADE2A5-A28E-F2AB-360D-7648D924771C}"/>
          </ac:spMkLst>
        </pc:spChg>
        <pc:spChg chg="mod">
          <ac:chgData name="Szmidt Mateusz" userId="65a76720-5d68-4247-bfbb-4498149d5e6c" providerId="ADAL" clId="{53F405C7-CDCB-4165-91CB-79F00C7648D2}" dt="2023-06-14T21:19:00.926" v="1021" actId="1076"/>
          <ac:spMkLst>
            <pc:docMk/>
            <pc:sldMk cId="479008182" sldId="604"/>
            <ac:spMk id="30" creationId="{91219DA6-0294-C5AA-5EC6-039E8D3F6E7F}"/>
          </ac:spMkLst>
        </pc:spChg>
        <pc:spChg chg="mod">
          <ac:chgData name="Szmidt Mateusz" userId="65a76720-5d68-4247-bfbb-4498149d5e6c" providerId="ADAL" clId="{53F405C7-CDCB-4165-91CB-79F00C7648D2}" dt="2023-06-14T21:17:26.604" v="1006" actId="1076"/>
          <ac:spMkLst>
            <pc:docMk/>
            <pc:sldMk cId="479008182" sldId="604"/>
            <ac:spMk id="31" creationId="{9C7F293D-B396-63B0-5763-621CBE330103}"/>
          </ac:spMkLst>
        </pc:spChg>
        <pc:spChg chg="mod">
          <ac:chgData name="Szmidt Mateusz" userId="65a76720-5d68-4247-bfbb-4498149d5e6c" providerId="ADAL" clId="{53F405C7-CDCB-4165-91CB-79F00C7648D2}" dt="2023-06-14T21:17:26.604" v="1006" actId="1076"/>
          <ac:spMkLst>
            <pc:docMk/>
            <pc:sldMk cId="479008182" sldId="604"/>
            <ac:spMk id="32" creationId="{47DF17E5-2DA1-C7B1-974F-22C21D612EDB}"/>
          </ac:spMkLst>
        </pc:spChg>
        <pc:spChg chg="mod">
          <ac:chgData name="Szmidt Mateusz" userId="65a76720-5d68-4247-bfbb-4498149d5e6c" providerId="ADAL" clId="{53F405C7-CDCB-4165-91CB-79F00C7648D2}" dt="2023-06-14T21:21:56.067" v="1056" actId="20577"/>
          <ac:spMkLst>
            <pc:docMk/>
            <pc:sldMk cId="479008182" sldId="604"/>
            <ac:spMk id="34" creationId="{00000000-0000-0000-0000-000000000000}"/>
          </ac:spMkLst>
        </pc:spChg>
        <pc:spChg chg="mod">
          <ac:chgData name="Szmidt Mateusz" userId="65a76720-5d68-4247-bfbb-4498149d5e6c" providerId="ADAL" clId="{53F405C7-CDCB-4165-91CB-79F00C7648D2}" dt="2023-06-14T21:19:00.926" v="1021" actId="1076"/>
          <ac:spMkLst>
            <pc:docMk/>
            <pc:sldMk cId="479008182" sldId="604"/>
            <ac:spMk id="35" creationId="{5601A81F-198E-F5BC-34F8-BABF9AC9EF86}"/>
          </ac:spMkLst>
        </pc:spChg>
        <pc:spChg chg="mod">
          <ac:chgData name="Szmidt Mateusz" userId="65a76720-5d68-4247-bfbb-4498149d5e6c" providerId="ADAL" clId="{53F405C7-CDCB-4165-91CB-79F00C7648D2}" dt="2023-06-14T21:22:31.378" v="1073"/>
          <ac:spMkLst>
            <pc:docMk/>
            <pc:sldMk cId="479008182" sldId="604"/>
            <ac:spMk id="37" creationId="{F1AE4439-6751-16FE-7027-2ADA7FA0AC89}"/>
          </ac:spMkLst>
        </pc:spChg>
        <pc:spChg chg="mod">
          <ac:chgData name="Szmidt Mateusz" userId="65a76720-5d68-4247-bfbb-4498149d5e6c" providerId="ADAL" clId="{53F405C7-CDCB-4165-91CB-79F00C7648D2}" dt="2023-06-14T21:17:26.604" v="1006" actId="1076"/>
          <ac:spMkLst>
            <pc:docMk/>
            <pc:sldMk cId="479008182" sldId="604"/>
            <ac:spMk id="38" creationId="{A3848FC4-6DB7-E6FE-017B-02B1966D0DEB}"/>
          </ac:spMkLst>
        </pc:spChg>
        <pc:spChg chg="mod">
          <ac:chgData name="Szmidt Mateusz" userId="65a76720-5d68-4247-bfbb-4498149d5e6c" providerId="ADAL" clId="{53F405C7-CDCB-4165-91CB-79F00C7648D2}" dt="2023-06-14T21:23:44.891" v="1106"/>
          <ac:spMkLst>
            <pc:docMk/>
            <pc:sldMk cId="479008182" sldId="604"/>
            <ac:spMk id="40" creationId="{AEFCC27E-957E-0E5B-8A8F-F3FA47B78D56}"/>
          </ac:spMkLst>
        </pc:spChg>
        <pc:spChg chg="mod">
          <ac:chgData name="Szmidt Mateusz" userId="65a76720-5d68-4247-bfbb-4498149d5e6c" providerId="ADAL" clId="{53F405C7-CDCB-4165-91CB-79F00C7648D2}" dt="2023-06-14T21:19:10.533" v="1022" actId="1076"/>
          <ac:spMkLst>
            <pc:docMk/>
            <pc:sldMk cId="479008182" sldId="604"/>
            <ac:spMk id="41" creationId="{F508EF0C-61EE-EC20-5932-7C7A9DF249C1}"/>
          </ac:spMkLst>
        </pc:spChg>
        <pc:spChg chg="mod">
          <ac:chgData name="Szmidt Mateusz" userId="65a76720-5d68-4247-bfbb-4498149d5e6c" providerId="ADAL" clId="{53F405C7-CDCB-4165-91CB-79F00C7648D2}" dt="2023-06-14T21:22:26.360" v="1071"/>
          <ac:spMkLst>
            <pc:docMk/>
            <pc:sldMk cId="479008182" sldId="604"/>
            <ac:spMk id="42" creationId="{BE45F41C-E465-F800-B4DF-E3AA04919204}"/>
          </ac:spMkLst>
        </pc:spChg>
        <pc:spChg chg="mod">
          <ac:chgData name="Szmidt Mateusz" userId="65a76720-5d68-4247-bfbb-4498149d5e6c" providerId="ADAL" clId="{53F405C7-CDCB-4165-91CB-79F00C7648D2}" dt="2023-06-14T21:19:10.533" v="1022" actId="1076"/>
          <ac:spMkLst>
            <pc:docMk/>
            <pc:sldMk cId="479008182" sldId="604"/>
            <ac:spMk id="43" creationId="{E402B025-8EB0-7DDB-0BFF-6407EEEC0E55}"/>
          </ac:spMkLst>
        </pc:spChg>
        <pc:spChg chg="mod">
          <ac:chgData name="Szmidt Mateusz" userId="65a76720-5d68-4247-bfbb-4498149d5e6c" providerId="ADAL" clId="{53F405C7-CDCB-4165-91CB-79F00C7648D2}" dt="2023-06-14T21:17:26.604" v="1006" actId="1076"/>
          <ac:spMkLst>
            <pc:docMk/>
            <pc:sldMk cId="479008182" sldId="604"/>
            <ac:spMk id="45" creationId="{992C10A0-EF6B-CD25-03DE-B1E489B5A5BA}"/>
          </ac:spMkLst>
        </pc:spChg>
        <pc:spChg chg="mod">
          <ac:chgData name="Szmidt Mateusz" userId="65a76720-5d68-4247-bfbb-4498149d5e6c" providerId="ADAL" clId="{53F405C7-CDCB-4165-91CB-79F00C7648D2}" dt="2023-06-14T22:52:59.893" v="1522" actId="20577"/>
          <ac:spMkLst>
            <pc:docMk/>
            <pc:sldMk cId="479008182" sldId="604"/>
            <ac:spMk id="47" creationId="{00000000-0000-0000-0000-000000000000}"/>
          </ac:spMkLst>
        </pc:spChg>
        <pc:spChg chg="del mod">
          <ac:chgData name="Szmidt Mateusz" userId="65a76720-5d68-4247-bfbb-4498149d5e6c" providerId="ADAL" clId="{53F405C7-CDCB-4165-91CB-79F00C7648D2}" dt="2023-06-14T21:23:39.441" v="1104" actId="478"/>
          <ac:spMkLst>
            <pc:docMk/>
            <pc:sldMk cId="479008182" sldId="604"/>
            <ac:spMk id="48" creationId="{6DF872CB-1A25-27A3-BFEE-D9AE3F7FEBFF}"/>
          </ac:spMkLst>
        </pc:spChg>
        <pc:spChg chg="mod">
          <ac:chgData name="Szmidt Mateusz" userId="65a76720-5d68-4247-bfbb-4498149d5e6c" providerId="ADAL" clId="{53F405C7-CDCB-4165-91CB-79F00C7648D2}" dt="2023-06-14T21:19:10.533" v="1022" actId="1076"/>
          <ac:spMkLst>
            <pc:docMk/>
            <pc:sldMk cId="479008182" sldId="604"/>
            <ac:spMk id="49" creationId="{9587FA3C-A41B-4D5B-EEAA-63527B7CEAA6}"/>
          </ac:spMkLst>
        </pc:spChg>
        <pc:spChg chg="mod">
          <ac:chgData name="Szmidt Mateusz" userId="65a76720-5d68-4247-bfbb-4498149d5e6c" providerId="ADAL" clId="{53F405C7-CDCB-4165-91CB-79F00C7648D2}" dt="2023-06-14T21:19:10.533" v="1022" actId="1076"/>
          <ac:spMkLst>
            <pc:docMk/>
            <pc:sldMk cId="479008182" sldId="604"/>
            <ac:spMk id="50" creationId="{2DCDC683-B740-6C6E-B924-BE046241AE1F}"/>
          </ac:spMkLst>
        </pc:spChg>
        <pc:spChg chg="add mod">
          <ac:chgData name="Szmidt Mateusz" userId="65a76720-5d68-4247-bfbb-4498149d5e6c" providerId="ADAL" clId="{53F405C7-CDCB-4165-91CB-79F00C7648D2}" dt="2023-06-14T21:25:39.951" v="1138" actId="1076"/>
          <ac:spMkLst>
            <pc:docMk/>
            <pc:sldMk cId="479008182" sldId="604"/>
            <ac:spMk id="52" creationId="{906A0A53-9F98-F111-6506-7FA9570CFD32}"/>
          </ac:spMkLst>
        </pc:spChg>
        <pc:spChg chg="mod">
          <ac:chgData name="Szmidt Mateusz" userId="65a76720-5d68-4247-bfbb-4498149d5e6c" providerId="ADAL" clId="{53F405C7-CDCB-4165-91CB-79F00C7648D2}" dt="2023-06-14T21:19:10.533" v="1022" actId="1076"/>
          <ac:spMkLst>
            <pc:docMk/>
            <pc:sldMk cId="479008182" sldId="604"/>
            <ac:spMk id="55" creationId="{3D76D79F-A178-F276-4B66-9D698A441323}"/>
          </ac:spMkLst>
        </pc:spChg>
        <pc:spChg chg="mod">
          <ac:chgData name="Szmidt Mateusz" userId="65a76720-5d68-4247-bfbb-4498149d5e6c" providerId="ADAL" clId="{53F405C7-CDCB-4165-91CB-79F00C7648D2}" dt="2023-06-14T21:22:29.064" v="1072"/>
          <ac:spMkLst>
            <pc:docMk/>
            <pc:sldMk cId="479008182" sldId="604"/>
            <ac:spMk id="56" creationId="{90D11509-5316-9F26-927E-6A8B2F5DED5D}"/>
          </ac:spMkLst>
        </pc:spChg>
        <pc:spChg chg="mod">
          <ac:chgData name="Szmidt Mateusz" userId="65a76720-5d68-4247-bfbb-4498149d5e6c" providerId="ADAL" clId="{53F405C7-CDCB-4165-91CB-79F00C7648D2}" dt="2023-06-14T21:23:42.668" v="1105"/>
          <ac:spMkLst>
            <pc:docMk/>
            <pc:sldMk cId="479008182" sldId="604"/>
            <ac:spMk id="57" creationId="{618734E2-14EA-D871-E3C3-1AF8622BFDC0}"/>
          </ac:spMkLst>
        </pc:spChg>
        <pc:spChg chg="mod">
          <ac:chgData name="Szmidt Mateusz" userId="65a76720-5d68-4247-bfbb-4498149d5e6c" providerId="ADAL" clId="{53F405C7-CDCB-4165-91CB-79F00C7648D2}" dt="2023-06-14T21:19:10.533" v="1022" actId="1076"/>
          <ac:spMkLst>
            <pc:docMk/>
            <pc:sldMk cId="479008182" sldId="604"/>
            <ac:spMk id="58" creationId="{3996B80C-89B4-FBE7-8D8C-189C02C1E194}"/>
          </ac:spMkLst>
        </pc:spChg>
        <pc:spChg chg="mod">
          <ac:chgData name="Szmidt Mateusz" userId="65a76720-5d68-4247-bfbb-4498149d5e6c" providerId="ADAL" clId="{53F405C7-CDCB-4165-91CB-79F00C7648D2}" dt="2023-06-14T21:19:00.926" v="1021" actId="1076"/>
          <ac:spMkLst>
            <pc:docMk/>
            <pc:sldMk cId="479008182" sldId="604"/>
            <ac:spMk id="59" creationId="{421EC602-5339-269D-707A-201E46E102C0}"/>
          </ac:spMkLst>
        </pc:spChg>
        <pc:spChg chg="mod">
          <ac:chgData name="Szmidt Mateusz" userId="65a76720-5d68-4247-bfbb-4498149d5e6c" providerId="ADAL" clId="{53F405C7-CDCB-4165-91CB-79F00C7648D2}" dt="2023-06-14T21:17:26.604" v="1006" actId="1076"/>
          <ac:spMkLst>
            <pc:docMk/>
            <pc:sldMk cId="479008182" sldId="604"/>
            <ac:spMk id="60" creationId="{A220C18B-044B-4888-AE4D-364E98408971}"/>
          </ac:spMkLst>
        </pc:spChg>
        <pc:spChg chg="mod">
          <ac:chgData name="Szmidt Mateusz" userId="65a76720-5d68-4247-bfbb-4498149d5e6c" providerId="ADAL" clId="{53F405C7-CDCB-4165-91CB-79F00C7648D2}" dt="2023-06-14T21:17:26.604" v="1006" actId="1076"/>
          <ac:spMkLst>
            <pc:docMk/>
            <pc:sldMk cId="479008182" sldId="604"/>
            <ac:spMk id="61" creationId="{FFD62F9C-D00C-4DE1-BC5B-DBE836947B12}"/>
          </ac:spMkLst>
        </pc:spChg>
        <pc:spChg chg="mod">
          <ac:chgData name="Szmidt Mateusz" userId="65a76720-5d68-4247-bfbb-4498149d5e6c" providerId="ADAL" clId="{53F405C7-CDCB-4165-91CB-79F00C7648D2}" dt="2023-06-14T21:22:49.359" v="1080" actId="20577"/>
          <ac:spMkLst>
            <pc:docMk/>
            <pc:sldMk cId="479008182" sldId="604"/>
            <ac:spMk id="62" creationId="{E42BA3FE-9899-400B-9B50-162B7259C520}"/>
          </ac:spMkLst>
        </pc:spChg>
        <pc:spChg chg="mod">
          <ac:chgData name="Szmidt Mateusz" userId="65a76720-5d68-4247-bfbb-4498149d5e6c" providerId="ADAL" clId="{53F405C7-CDCB-4165-91CB-79F00C7648D2}" dt="2023-06-14T21:19:10.533" v="1022" actId="1076"/>
          <ac:spMkLst>
            <pc:docMk/>
            <pc:sldMk cId="479008182" sldId="604"/>
            <ac:spMk id="68" creationId="{73301131-F47D-2F01-924F-6F9D4A02EBAF}"/>
          </ac:spMkLst>
        </pc:spChg>
        <pc:spChg chg="mod">
          <ac:chgData name="Szmidt Mateusz" userId="65a76720-5d68-4247-bfbb-4498149d5e6c" providerId="ADAL" clId="{53F405C7-CDCB-4165-91CB-79F00C7648D2}" dt="2023-06-14T21:22:37.359" v="1074"/>
          <ac:spMkLst>
            <pc:docMk/>
            <pc:sldMk cId="479008182" sldId="604"/>
            <ac:spMk id="69" creationId="{A1D7407F-014B-CAEC-63EF-DF8A8DF75135}"/>
          </ac:spMkLst>
        </pc:spChg>
        <pc:spChg chg="mod">
          <ac:chgData name="Szmidt Mateusz" userId="65a76720-5d68-4247-bfbb-4498149d5e6c" providerId="ADAL" clId="{53F405C7-CDCB-4165-91CB-79F00C7648D2}" dt="2023-06-14T21:23:47.745" v="1108"/>
          <ac:spMkLst>
            <pc:docMk/>
            <pc:sldMk cId="479008182" sldId="604"/>
            <ac:spMk id="70" creationId="{47078A97-F56D-78D8-6F29-5B144165BEF5}"/>
          </ac:spMkLst>
        </pc:spChg>
        <pc:spChg chg="mod">
          <ac:chgData name="Szmidt Mateusz" userId="65a76720-5d68-4247-bfbb-4498149d5e6c" providerId="ADAL" clId="{53F405C7-CDCB-4165-91CB-79F00C7648D2}" dt="2023-06-14T21:19:10.533" v="1022" actId="1076"/>
          <ac:spMkLst>
            <pc:docMk/>
            <pc:sldMk cId="479008182" sldId="604"/>
            <ac:spMk id="71" creationId="{2F50BEE8-AB7E-CEE5-914C-4D58312EED23}"/>
          </ac:spMkLst>
        </pc:spChg>
        <pc:spChg chg="add del mod">
          <ac:chgData name="Szmidt Mateusz" userId="65a76720-5d68-4247-bfbb-4498149d5e6c" providerId="ADAL" clId="{53F405C7-CDCB-4165-91CB-79F00C7648D2}" dt="2023-06-14T21:25:45.157" v="1142"/>
          <ac:spMkLst>
            <pc:docMk/>
            <pc:sldMk cId="479008182" sldId="604"/>
            <ac:spMk id="72" creationId="{7B73082D-26FC-12CC-EFB9-72FF801B95F3}"/>
          </ac:spMkLst>
        </pc:spChg>
        <pc:spChg chg="mod">
          <ac:chgData name="Szmidt Mateusz" userId="65a76720-5d68-4247-bfbb-4498149d5e6c" providerId="ADAL" clId="{53F405C7-CDCB-4165-91CB-79F00C7648D2}" dt="2023-06-14T21:19:00.926" v="1021" actId="1076"/>
          <ac:spMkLst>
            <pc:docMk/>
            <pc:sldMk cId="479008182" sldId="604"/>
            <ac:spMk id="75" creationId="{66C16039-7D6A-17DA-6D20-471D326F7636}"/>
          </ac:spMkLst>
        </pc:spChg>
        <pc:spChg chg="mod">
          <ac:chgData name="Szmidt Mateusz" userId="65a76720-5d68-4247-bfbb-4498149d5e6c" providerId="ADAL" clId="{53F405C7-CDCB-4165-91CB-79F00C7648D2}" dt="2023-06-14T21:17:26.604" v="1006" actId="1076"/>
          <ac:spMkLst>
            <pc:docMk/>
            <pc:sldMk cId="479008182" sldId="604"/>
            <ac:spMk id="76" creationId="{CD78FFBE-E981-B444-D371-1114064522A4}"/>
          </ac:spMkLst>
        </pc:spChg>
        <pc:spChg chg="add del">
          <ac:chgData name="Szmidt Mateusz" userId="65a76720-5d68-4247-bfbb-4498149d5e6c" providerId="ADAL" clId="{53F405C7-CDCB-4165-91CB-79F00C7648D2}" dt="2023-06-14T21:16:06.952" v="985" actId="478"/>
          <ac:spMkLst>
            <pc:docMk/>
            <pc:sldMk cId="479008182" sldId="604"/>
            <ac:spMk id="77" creationId="{BE19073D-BA0F-31DD-761E-0AEB2979F261}"/>
          </ac:spMkLst>
        </pc:spChg>
        <pc:spChg chg="mod">
          <ac:chgData name="Szmidt Mateusz" userId="65a76720-5d68-4247-bfbb-4498149d5e6c" providerId="ADAL" clId="{53F405C7-CDCB-4165-91CB-79F00C7648D2}" dt="2023-06-14T21:22:39.255" v="1075"/>
          <ac:spMkLst>
            <pc:docMk/>
            <pc:sldMk cId="479008182" sldId="604"/>
            <ac:spMk id="78" creationId="{12119E7B-F944-BAC2-090B-A567344945CE}"/>
          </ac:spMkLst>
        </pc:spChg>
        <pc:spChg chg="mod">
          <ac:chgData name="Szmidt Mateusz" userId="65a76720-5d68-4247-bfbb-4498149d5e6c" providerId="ADAL" clId="{53F405C7-CDCB-4165-91CB-79F00C7648D2}" dt="2023-06-14T21:23:49.887" v="1109"/>
          <ac:spMkLst>
            <pc:docMk/>
            <pc:sldMk cId="479008182" sldId="604"/>
            <ac:spMk id="79" creationId="{CAA8F16B-B667-4272-CEDA-878085357C6C}"/>
          </ac:spMkLst>
        </pc:spChg>
        <pc:spChg chg="mod">
          <ac:chgData name="Szmidt Mateusz" userId="65a76720-5d68-4247-bfbb-4498149d5e6c" providerId="ADAL" clId="{53F405C7-CDCB-4165-91CB-79F00C7648D2}" dt="2023-06-14T21:19:10.533" v="1022" actId="1076"/>
          <ac:spMkLst>
            <pc:docMk/>
            <pc:sldMk cId="479008182" sldId="604"/>
            <ac:spMk id="80" creationId="{022E4975-C91B-BFEB-8C9B-86FAAF78B031}"/>
          </ac:spMkLst>
        </pc:spChg>
        <pc:spChg chg="mod">
          <ac:chgData name="Szmidt Mateusz" userId="65a76720-5d68-4247-bfbb-4498149d5e6c" providerId="ADAL" clId="{53F405C7-CDCB-4165-91CB-79F00C7648D2}" dt="2023-06-14T21:19:10.533" v="1022" actId="1076"/>
          <ac:spMkLst>
            <pc:docMk/>
            <pc:sldMk cId="479008182" sldId="604"/>
            <ac:spMk id="81" creationId="{97FB84E5-8A69-FE80-DF68-BADDD2199878}"/>
          </ac:spMkLst>
        </pc:spChg>
        <pc:spChg chg="add mod">
          <ac:chgData name="Szmidt Mateusz" userId="65a76720-5d68-4247-bfbb-4498149d5e6c" providerId="ADAL" clId="{53F405C7-CDCB-4165-91CB-79F00C7648D2}" dt="2023-06-14T21:25:50.557" v="1144" actId="1076"/>
          <ac:spMkLst>
            <pc:docMk/>
            <pc:sldMk cId="479008182" sldId="604"/>
            <ac:spMk id="83" creationId="{11203DF5-6B70-769E-ADC4-46929969752A}"/>
          </ac:spMkLst>
        </pc:spChg>
        <pc:spChg chg="add mod">
          <ac:chgData name="Szmidt Mateusz" userId="65a76720-5d68-4247-bfbb-4498149d5e6c" providerId="ADAL" clId="{53F405C7-CDCB-4165-91CB-79F00C7648D2}" dt="2023-06-14T21:25:55.970" v="1146" actId="1076"/>
          <ac:spMkLst>
            <pc:docMk/>
            <pc:sldMk cId="479008182" sldId="604"/>
            <ac:spMk id="85" creationId="{5B63F27E-891C-80DC-AB08-2D2E489A541F}"/>
          </ac:spMkLst>
        </pc:spChg>
        <pc:picChg chg="del">
          <ac:chgData name="Szmidt Mateusz" userId="65a76720-5d68-4247-bfbb-4498149d5e6c" providerId="ADAL" clId="{53F405C7-CDCB-4165-91CB-79F00C7648D2}" dt="2023-06-14T21:16:16.671" v="992" actId="478"/>
          <ac:picMkLst>
            <pc:docMk/>
            <pc:sldMk cId="479008182" sldId="604"/>
            <ac:picMk id="19" creationId="{22A1F8F9-11A6-3565-1650-58DCFBFAFE26}"/>
          </ac:picMkLst>
        </pc:picChg>
        <pc:picChg chg="del">
          <ac:chgData name="Szmidt Mateusz" userId="65a76720-5d68-4247-bfbb-4498149d5e6c" providerId="ADAL" clId="{53F405C7-CDCB-4165-91CB-79F00C7648D2}" dt="2023-06-14T21:16:15.407" v="991" actId="478"/>
          <ac:picMkLst>
            <pc:docMk/>
            <pc:sldMk cId="479008182" sldId="604"/>
            <ac:picMk id="44" creationId="{31EDAE16-065A-F121-67D6-A95F3E2BB319}"/>
          </ac:picMkLst>
        </pc:picChg>
        <pc:picChg chg="del">
          <ac:chgData name="Szmidt Mateusz" userId="65a76720-5d68-4247-bfbb-4498149d5e6c" providerId="ADAL" clId="{53F405C7-CDCB-4165-91CB-79F00C7648D2}" dt="2023-06-14T21:16:14.267" v="990" actId="478"/>
          <ac:picMkLst>
            <pc:docMk/>
            <pc:sldMk cId="479008182" sldId="604"/>
            <ac:picMk id="46" creationId="{20A30C37-6F56-6AB7-6ED2-A0AAB8330F52}"/>
          </ac:picMkLst>
        </pc:picChg>
        <pc:picChg chg="del">
          <ac:chgData name="Szmidt Mateusz" userId="65a76720-5d68-4247-bfbb-4498149d5e6c" providerId="ADAL" clId="{53F405C7-CDCB-4165-91CB-79F00C7648D2}" dt="2023-06-14T21:16:12.409" v="989" actId="478"/>
          <ac:picMkLst>
            <pc:docMk/>
            <pc:sldMk cId="479008182" sldId="604"/>
            <ac:picMk id="51" creationId="{9C505B74-45C9-44A9-9256-BA8EEFD25A65}"/>
          </ac:picMkLst>
        </pc:picChg>
        <pc:picChg chg="del">
          <ac:chgData name="Szmidt Mateusz" userId="65a76720-5d68-4247-bfbb-4498149d5e6c" providerId="ADAL" clId="{53F405C7-CDCB-4165-91CB-79F00C7648D2}" dt="2023-06-14T21:16:02.390" v="983" actId="478"/>
          <ac:picMkLst>
            <pc:docMk/>
            <pc:sldMk cId="479008182" sldId="604"/>
            <ac:picMk id="53" creationId="{5005F14D-3927-3B34-DCEA-4F0F0A64D336}"/>
          </ac:picMkLst>
        </pc:picChg>
        <pc:picChg chg="del">
          <ac:chgData name="Szmidt Mateusz" userId="65a76720-5d68-4247-bfbb-4498149d5e6c" providerId="ADAL" clId="{53F405C7-CDCB-4165-91CB-79F00C7648D2}" dt="2023-06-14T21:16:10.635" v="988" actId="478"/>
          <ac:picMkLst>
            <pc:docMk/>
            <pc:sldMk cId="479008182" sldId="604"/>
            <ac:picMk id="54" creationId="{836524AB-4D4B-2E0A-15C3-4A65B7D69219}"/>
          </ac:picMkLst>
        </pc:picChg>
        <pc:picChg chg="del">
          <ac:chgData name="Szmidt Mateusz" userId="65a76720-5d68-4247-bfbb-4498149d5e6c" providerId="ADAL" clId="{53F405C7-CDCB-4165-91CB-79F00C7648D2}" dt="2023-06-14T21:15:51.296" v="979" actId="478"/>
          <ac:picMkLst>
            <pc:docMk/>
            <pc:sldMk cId="479008182" sldId="604"/>
            <ac:picMk id="63" creationId="{480C76BB-EB06-0B34-5259-B1A96F74312B}"/>
          </ac:picMkLst>
        </pc:picChg>
        <pc:picChg chg="del">
          <ac:chgData name="Szmidt Mateusz" userId="65a76720-5d68-4247-bfbb-4498149d5e6c" providerId="ADAL" clId="{53F405C7-CDCB-4165-91CB-79F00C7648D2}" dt="2023-06-14T21:15:53.384" v="980" actId="478"/>
          <ac:picMkLst>
            <pc:docMk/>
            <pc:sldMk cId="479008182" sldId="604"/>
            <ac:picMk id="64" creationId="{45B00B69-3E4A-A131-9C92-879F61592571}"/>
          </ac:picMkLst>
        </pc:picChg>
        <pc:picChg chg="del">
          <ac:chgData name="Szmidt Mateusz" userId="65a76720-5d68-4247-bfbb-4498149d5e6c" providerId="ADAL" clId="{53F405C7-CDCB-4165-91CB-79F00C7648D2}" dt="2023-06-14T21:15:55.049" v="981" actId="478"/>
          <ac:picMkLst>
            <pc:docMk/>
            <pc:sldMk cId="479008182" sldId="604"/>
            <ac:picMk id="65" creationId="{48CE7ADC-9407-14BC-0FBC-20FFCBBEF1EB}"/>
          </ac:picMkLst>
        </pc:picChg>
        <pc:picChg chg="del">
          <ac:chgData name="Szmidt Mateusz" userId="65a76720-5d68-4247-bfbb-4498149d5e6c" providerId="ADAL" clId="{53F405C7-CDCB-4165-91CB-79F00C7648D2}" dt="2023-06-14T21:16:00.191" v="982" actId="478"/>
          <ac:picMkLst>
            <pc:docMk/>
            <pc:sldMk cId="479008182" sldId="604"/>
            <ac:picMk id="66" creationId="{921A8866-2786-75E3-4B59-4695DA18ABB0}"/>
          </ac:picMkLst>
        </pc:picChg>
        <pc:picChg chg="del">
          <ac:chgData name="Szmidt Mateusz" userId="65a76720-5d68-4247-bfbb-4498149d5e6c" providerId="ADAL" clId="{53F405C7-CDCB-4165-91CB-79F00C7648D2}" dt="2023-06-14T21:16:18.874" v="993" actId="478"/>
          <ac:picMkLst>
            <pc:docMk/>
            <pc:sldMk cId="479008182" sldId="604"/>
            <ac:picMk id="73" creationId="{47779951-6EFE-29B8-1715-836413C2FB14}"/>
          </ac:picMkLst>
        </pc:picChg>
        <pc:picChg chg="del">
          <ac:chgData name="Szmidt Mateusz" userId="65a76720-5d68-4247-bfbb-4498149d5e6c" providerId="ADAL" clId="{53F405C7-CDCB-4165-91CB-79F00C7648D2}" dt="2023-06-14T21:16:09.510" v="987" actId="478"/>
          <ac:picMkLst>
            <pc:docMk/>
            <pc:sldMk cId="479008182" sldId="604"/>
            <ac:picMk id="74" creationId="{F634B860-EC44-5267-A8BE-2B55FD04EB09}"/>
          </ac:picMkLst>
        </pc:picChg>
        <pc:picChg chg="del">
          <ac:chgData name="Szmidt Mateusz" userId="65a76720-5d68-4247-bfbb-4498149d5e6c" providerId="ADAL" clId="{53F405C7-CDCB-4165-91CB-79F00C7648D2}" dt="2023-06-14T21:16:20.571" v="994" actId="478"/>
          <ac:picMkLst>
            <pc:docMk/>
            <pc:sldMk cId="479008182" sldId="604"/>
            <ac:picMk id="82" creationId="{8ABD7101-2F25-30C8-00F4-194E7BCB49C5}"/>
          </ac:picMkLst>
        </pc:picChg>
        <pc:picChg chg="del">
          <ac:chgData name="Szmidt Mateusz" userId="65a76720-5d68-4247-bfbb-4498149d5e6c" providerId="ADAL" clId="{53F405C7-CDCB-4165-91CB-79F00C7648D2}" dt="2023-06-14T21:16:08.198" v="986" actId="478"/>
          <ac:picMkLst>
            <pc:docMk/>
            <pc:sldMk cId="479008182" sldId="604"/>
            <ac:picMk id="84" creationId="{12B60BC9-C0DE-1D7F-5821-0C99688A1AEB}"/>
          </ac:picMkLst>
        </pc:picChg>
      </pc:sldChg>
      <pc:sldChg chg="addSp delSp modSp add mod ord">
        <pc:chgData name="Szmidt Mateusz" userId="65a76720-5d68-4247-bfbb-4498149d5e6c" providerId="ADAL" clId="{53F405C7-CDCB-4165-91CB-79F00C7648D2}" dt="2023-06-15T10:18:32.448" v="4439" actId="20577"/>
        <pc:sldMkLst>
          <pc:docMk/>
          <pc:sldMk cId="3895171461" sldId="605"/>
        </pc:sldMkLst>
        <pc:spChg chg="add mod">
          <ac:chgData name="Szmidt Mateusz" userId="65a76720-5d68-4247-bfbb-4498149d5e6c" providerId="ADAL" clId="{53F405C7-CDCB-4165-91CB-79F00C7648D2}" dt="2023-06-15T09:53:23.053" v="3348" actId="1076"/>
          <ac:spMkLst>
            <pc:docMk/>
            <pc:sldMk cId="3895171461" sldId="605"/>
            <ac:spMk id="4" creationId="{C8D414A5-5C62-6ECD-5AAC-17871493C52A}"/>
          </ac:spMkLst>
        </pc:spChg>
        <pc:spChg chg="mod">
          <ac:chgData name="Szmidt Mateusz" userId="65a76720-5d68-4247-bfbb-4498149d5e6c" providerId="ADAL" clId="{53F405C7-CDCB-4165-91CB-79F00C7648D2}" dt="2023-06-15T10:07:12.038" v="4132" actId="20577"/>
          <ac:spMkLst>
            <pc:docMk/>
            <pc:sldMk cId="3895171461" sldId="605"/>
            <ac:spMk id="5" creationId="{7707A921-7F7A-40D6-B478-D13DE126928E}"/>
          </ac:spMkLst>
        </pc:spChg>
        <pc:spChg chg="add mod">
          <ac:chgData name="Szmidt Mateusz" userId="65a76720-5d68-4247-bfbb-4498149d5e6c" providerId="ADAL" clId="{53F405C7-CDCB-4165-91CB-79F00C7648D2}" dt="2023-06-15T09:53:23.053" v="3348" actId="1076"/>
          <ac:spMkLst>
            <pc:docMk/>
            <pc:sldMk cId="3895171461" sldId="605"/>
            <ac:spMk id="6" creationId="{D8F00408-93A4-3935-A08B-F6AB685ECC3C}"/>
          </ac:spMkLst>
        </pc:spChg>
        <pc:spChg chg="add mod">
          <ac:chgData name="Szmidt Mateusz" userId="65a76720-5d68-4247-bfbb-4498149d5e6c" providerId="ADAL" clId="{53F405C7-CDCB-4165-91CB-79F00C7648D2}" dt="2023-06-15T10:00:53.384" v="3785" actId="20577"/>
          <ac:spMkLst>
            <pc:docMk/>
            <pc:sldMk cId="3895171461" sldId="605"/>
            <ac:spMk id="9" creationId="{5723892A-7FC7-452E-8E51-6A71A1B8328D}"/>
          </ac:spMkLst>
        </pc:spChg>
        <pc:spChg chg="add mod">
          <ac:chgData name="Szmidt Mateusz" userId="65a76720-5d68-4247-bfbb-4498149d5e6c" providerId="ADAL" clId="{53F405C7-CDCB-4165-91CB-79F00C7648D2}" dt="2023-06-15T09:53:23.053" v="3348" actId="1076"/>
          <ac:spMkLst>
            <pc:docMk/>
            <pc:sldMk cId="3895171461" sldId="605"/>
            <ac:spMk id="10" creationId="{4D938A1E-17F3-F439-D5E1-CFE6E5B2418A}"/>
          </ac:spMkLst>
        </pc:spChg>
        <pc:spChg chg="add mod">
          <ac:chgData name="Szmidt Mateusz" userId="65a76720-5d68-4247-bfbb-4498149d5e6c" providerId="ADAL" clId="{53F405C7-CDCB-4165-91CB-79F00C7648D2}" dt="2023-06-15T09:53:23.053" v="3348" actId="1076"/>
          <ac:spMkLst>
            <pc:docMk/>
            <pc:sldMk cId="3895171461" sldId="605"/>
            <ac:spMk id="11" creationId="{F1D82F05-D0B5-77FD-2A8B-B340105F779D}"/>
          </ac:spMkLst>
        </pc:spChg>
        <pc:spChg chg="add mod">
          <ac:chgData name="Szmidt Mateusz" userId="65a76720-5d68-4247-bfbb-4498149d5e6c" providerId="ADAL" clId="{53F405C7-CDCB-4165-91CB-79F00C7648D2}" dt="2023-06-15T09:53:33.703" v="3359" actId="20577"/>
          <ac:spMkLst>
            <pc:docMk/>
            <pc:sldMk cId="3895171461" sldId="605"/>
            <ac:spMk id="12" creationId="{0CB6889F-E3E0-87DA-F043-35AC95B54BE8}"/>
          </ac:spMkLst>
        </pc:spChg>
        <pc:spChg chg="add mod">
          <ac:chgData name="Szmidt Mateusz" userId="65a76720-5d68-4247-bfbb-4498149d5e6c" providerId="ADAL" clId="{53F405C7-CDCB-4165-91CB-79F00C7648D2}" dt="2023-06-15T09:53:23.053" v="3348" actId="1076"/>
          <ac:spMkLst>
            <pc:docMk/>
            <pc:sldMk cId="3895171461" sldId="605"/>
            <ac:spMk id="13" creationId="{A85DA448-7774-1C76-53AF-D8507D81B23C}"/>
          </ac:spMkLst>
        </pc:spChg>
        <pc:spChg chg="add mod">
          <ac:chgData name="Szmidt Mateusz" userId="65a76720-5d68-4247-bfbb-4498149d5e6c" providerId="ADAL" clId="{53F405C7-CDCB-4165-91CB-79F00C7648D2}" dt="2023-06-15T09:53:23.053" v="3348" actId="1076"/>
          <ac:spMkLst>
            <pc:docMk/>
            <pc:sldMk cId="3895171461" sldId="605"/>
            <ac:spMk id="14" creationId="{BC82FC1C-5050-3D10-2B2F-B0D385B20645}"/>
          </ac:spMkLst>
        </pc:spChg>
        <pc:spChg chg="add mod">
          <ac:chgData name="Szmidt Mateusz" userId="65a76720-5d68-4247-bfbb-4498149d5e6c" providerId="ADAL" clId="{53F405C7-CDCB-4165-91CB-79F00C7648D2}" dt="2023-06-15T09:58:13.831" v="3674" actId="20577"/>
          <ac:spMkLst>
            <pc:docMk/>
            <pc:sldMk cId="3895171461" sldId="605"/>
            <ac:spMk id="15" creationId="{D7D06088-B7BD-C31E-A86B-E1C0439C7825}"/>
          </ac:spMkLst>
        </pc:spChg>
        <pc:spChg chg="add mod">
          <ac:chgData name="Szmidt Mateusz" userId="65a76720-5d68-4247-bfbb-4498149d5e6c" providerId="ADAL" clId="{53F405C7-CDCB-4165-91CB-79F00C7648D2}" dt="2023-06-15T09:53:23.053" v="3348" actId="1076"/>
          <ac:spMkLst>
            <pc:docMk/>
            <pc:sldMk cId="3895171461" sldId="605"/>
            <ac:spMk id="16" creationId="{FF8A4B11-E3EE-5422-6077-8EF9FEBCEC43}"/>
          </ac:spMkLst>
        </pc:spChg>
        <pc:spChg chg="add mod">
          <ac:chgData name="Szmidt Mateusz" userId="65a76720-5d68-4247-bfbb-4498149d5e6c" providerId="ADAL" clId="{53F405C7-CDCB-4165-91CB-79F00C7648D2}" dt="2023-06-15T10:04:50.248" v="4091" actId="20577"/>
          <ac:spMkLst>
            <pc:docMk/>
            <pc:sldMk cId="3895171461" sldId="605"/>
            <ac:spMk id="17" creationId="{80BCDA5E-C1CE-C68C-B2A2-64B0B8695CBD}"/>
          </ac:spMkLst>
        </pc:spChg>
        <pc:spChg chg="add mod">
          <ac:chgData name="Szmidt Mateusz" userId="65a76720-5d68-4247-bfbb-4498149d5e6c" providerId="ADAL" clId="{53F405C7-CDCB-4165-91CB-79F00C7648D2}" dt="2023-06-15T09:53:23.053" v="3348" actId="1076"/>
          <ac:spMkLst>
            <pc:docMk/>
            <pc:sldMk cId="3895171461" sldId="605"/>
            <ac:spMk id="18" creationId="{5CCBBAA0-4B11-80E5-42FA-555B5868266E}"/>
          </ac:spMkLst>
        </pc:spChg>
        <pc:spChg chg="add mod">
          <ac:chgData name="Szmidt Mateusz" userId="65a76720-5d68-4247-bfbb-4498149d5e6c" providerId="ADAL" clId="{53F405C7-CDCB-4165-91CB-79F00C7648D2}" dt="2023-06-15T09:53:23.053" v="3348" actId="1076"/>
          <ac:spMkLst>
            <pc:docMk/>
            <pc:sldMk cId="3895171461" sldId="605"/>
            <ac:spMk id="19" creationId="{A2DA3059-774D-3CEB-775D-D66AF26F05BD}"/>
          </ac:spMkLst>
        </pc:spChg>
        <pc:spChg chg="add del mod">
          <ac:chgData name="Szmidt Mateusz" userId="65a76720-5d68-4247-bfbb-4498149d5e6c" providerId="ADAL" clId="{53F405C7-CDCB-4165-91CB-79F00C7648D2}" dt="2023-06-15T10:04:59.595" v="4094" actId="478"/>
          <ac:spMkLst>
            <pc:docMk/>
            <pc:sldMk cId="3895171461" sldId="605"/>
            <ac:spMk id="20" creationId="{BC016187-2A9F-8BC3-AC19-509F23C17529}"/>
          </ac:spMkLst>
        </pc:spChg>
        <pc:spChg chg="add mod">
          <ac:chgData name="Szmidt Mateusz" userId="65a76720-5d68-4247-bfbb-4498149d5e6c" providerId="ADAL" clId="{53F405C7-CDCB-4165-91CB-79F00C7648D2}" dt="2023-06-15T09:58:17.031" v="3676" actId="20577"/>
          <ac:spMkLst>
            <pc:docMk/>
            <pc:sldMk cId="3895171461" sldId="605"/>
            <ac:spMk id="21" creationId="{BBD4EB91-CF62-85D2-BE4D-52E392F71BE7}"/>
          </ac:spMkLst>
        </pc:spChg>
        <pc:spChg chg="add mod">
          <ac:chgData name="Szmidt Mateusz" userId="65a76720-5d68-4247-bfbb-4498149d5e6c" providerId="ADAL" clId="{53F405C7-CDCB-4165-91CB-79F00C7648D2}" dt="2023-06-15T09:53:23.053" v="3348" actId="1076"/>
          <ac:spMkLst>
            <pc:docMk/>
            <pc:sldMk cId="3895171461" sldId="605"/>
            <ac:spMk id="22" creationId="{2C31C1E6-5906-FBEB-3BD1-3FCEAD436260}"/>
          </ac:spMkLst>
        </pc:spChg>
        <pc:spChg chg="add del mod">
          <ac:chgData name="Szmidt Mateusz" userId="65a76720-5d68-4247-bfbb-4498149d5e6c" providerId="ADAL" clId="{53F405C7-CDCB-4165-91CB-79F00C7648D2}" dt="2023-06-15T10:16:42.861" v="4319" actId="20577"/>
          <ac:spMkLst>
            <pc:docMk/>
            <pc:sldMk cId="3895171461" sldId="605"/>
            <ac:spMk id="23" creationId="{553F9AB3-FD6E-54CB-673C-6B1AF464305C}"/>
          </ac:spMkLst>
        </pc:spChg>
        <pc:spChg chg="add del mod">
          <ac:chgData name="Szmidt Mateusz" userId="65a76720-5d68-4247-bfbb-4498149d5e6c" providerId="ADAL" clId="{53F405C7-CDCB-4165-91CB-79F00C7648D2}" dt="2023-06-15T09:59:10.047" v="3706" actId="478"/>
          <ac:spMkLst>
            <pc:docMk/>
            <pc:sldMk cId="3895171461" sldId="605"/>
            <ac:spMk id="24" creationId="{FC621629-99A7-97DE-04C5-8ED6FEB94A84}"/>
          </ac:spMkLst>
        </pc:spChg>
        <pc:spChg chg="add mod">
          <ac:chgData name="Szmidt Mateusz" userId="65a76720-5d68-4247-bfbb-4498149d5e6c" providerId="ADAL" clId="{53F405C7-CDCB-4165-91CB-79F00C7648D2}" dt="2023-06-15T10:06:52.116" v="4103" actId="20577"/>
          <ac:spMkLst>
            <pc:docMk/>
            <pc:sldMk cId="3895171461" sldId="605"/>
            <ac:spMk id="26" creationId="{D09DA684-4305-FD53-5D7E-128276A1F8C5}"/>
          </ac:spMkLst>
        </pc:spChg>
        <pc:spChg chg="add mod">
          <ac:chgData name="Szmidt Mateusz" userId="65a76720-5d68-4247-bfbb-4498149d5e6c" providerId="ADAL" clId="{53F405C7-CDCB-4165-91CB-79F00C7648D2}" dt="2023-06-15T10:18:32.448" v="4439" actId="20577"/>
          <ac:spMkLst>
            <pc:docMk/>
            <pc:sldMk cId="3895171461" sldId="605"/>
            <ac:spMk id="27" creationId="{3F16BA62-6F96-2C97-66DA-E216DC4AFAB0}"/>
          </ac:spMkLst>
        </pc:spChg>
      </pc:sldChg>
      <pc:sldMasterChg chg="del delSldLayout">
        <pc:chgData name="Szmidt Mateusz" userId="65a76720-5d68-4247-bfbb-4498149d5e6c" providerId="ADAL" clId="{53F405C7-CDCB-4165-91CB-79F00C7648D2}" dt="2023-06-14T23:02:58.332" v="1760" actId="47"/>
        <pc:sldMasterMkLst>
          <pc:docMk/>
          <pc:sldMasterMk cId="3057347063" sldId="2147483740"/>
        </pc:sldMasterMkLst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3605074095" sldId="2147483741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3395930601" sldId="2147483742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1528551076" sldId="2147483743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3999362529" sldId="2147483744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2199845954" sldId="2147483745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965997129" sldId="2147483746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952592841" sldId="2147483747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289937146" sldId="2147483748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1348145677" sldId="2147483749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2995211648" sldId="2147483750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2679895989" sldId="2147483751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1922782186" sldId="2147483752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3845082700" sldId="2147483753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2220526076" sldId="2147483754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4213949261" sldId="2147483755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959915078" sldId="2147483756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1163743733" sldId="2147483757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3041766098" sldId="2147483758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1379688269" sldId="2147483759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2826727104" sldId="2147483760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4092495862" sldId="2147483761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1851128964" sldId="2147483762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2947841167" sldId="2147483763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4173745091" sldId="2147483764"/>
          </pc:sldLayoutMkLst>
        </pc:sldLayoutChg>
        <pc:sldLayoutChg chg="del">
          <pc:chgData name="Szmidt Mateusz" userId="65a76720-5d68-4247-bfbb-4498149d5e6c" providerId="ADAL" clId="{53F405C7-CDCB-4165-91CB-79F00C7648D2}" dt="2023-06-14T23:02:58.332" v="1760" actId="47"/>
          <pc:sldLayoutMkLst>
            <pc:docMk/>
            <pc:sldMasterMk cId="3057347063" sldId="2147483740"/>
            <pc:sldLayoutMk cId="4263648482" sldId="2147483765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D348062-21A8-4A11-9551-51DE7C1E01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>
              <a:latin typeface="Calibri" panose="020F05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5564D2-103F-48A6-B8F0-2504C606327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7E606C-435D-486E-B346-5027EF590E84}" type="datetimeFigureOut">
              <a:rPr lang="pl-PL" smtClean="0">
                <a:latin typeface="Calibri" panose="020F0502020204030204" pitchFamily="34" charset="0"/>
              </a:rPr>
              <a:t>15.06.2023</a:t>
            </a:fld>
            <a:endParaRPr lang="pl-PL">
              <a:latin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7F7BC3-78F9-49B3-9115-4824B182ABB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>
              <a:latin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78BA61-E15B-483A-8EAB-F7EDBC6DC0B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19FF2A-8AC6-4329-98DF-58D59806EF61}" type="slidenum">
              <a:rPr lang="pl-PL" smtClean="0">
                <a:latin typeface="Calibri" panose="020F0502020204030204" pitchFamily="34" charset="0"/>
              </a:rPr>
              <a:t>‹#›</a:t>
            </a:fld>
            <a:endParaRPr lang="pl-PL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435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04820752-8765-4779-A0FB-7B1EEF2485C9}" type="datetimeFigureOut">
              <a:rPr lang="en-GB" smtClean="0"/>
              <a:pPr/>
              <a:t>15/06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F47C972F-575D-4559-B418-B9B43C914F2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6440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260A9B0-17EB-4D10-BB51-75B8A512C861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C106E05-D472-4A33-9504-D9279580B94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774704"/>
            <a:ext cx="7013575" cy="5724525"/>
          </a:xfrm>
          <a:custGeom>
            <a:avLst/>
            <a:gdLst>
              <a:gd name="connsiteX0" fmla="*/ 0 w 7013575"/>
              <a:gd name="connsiteY0" fmla="*/ 0 h 5724525"/>
              <a:gd name="connsiteX1" fmla="*/ 6916716 w 7013575"/>
              <a:gd name="connsiteY1" fmla="*/ 0 h 5724525"/>
              <a:gd name="connsiteX2" fmla="*/ 7013575 w 7013575"/>
              <a:gd name="connsiteY2" fmla="*/ 96859 h 5724525"/>
              <a:gd name="connsiteX3" fmla="*/ 7013575 w 7013575"/>
              <a:gd name="connsiteY3" fmla="*/ 5627666 h 5724525"/>
              <a:gd name="connsiteX4" fmla="*/ 6916716 w 7013575"/>
              <a:gd name="connsiteY4" fmla="*/ 5724525 h 5724525"/>
              <a:gd name="connsiteX5" fmla="*/ 0 w 7013575"/>
              <a:gd name="connsiteY5" fmla="*/ 5724525 h 572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13575" h="5724525">
                <a:moveTo>
                  <a:pt x="0" y="0"/>
                </a:moveTo>
                <a:lnTo>
                  <a:pt x="6916716" y="0"/>
                </a:lnTo>
                <a:cubicBezTo>
                  <a:pt x="6970210" y="0"/>
                  <a:pt x="7013575" y="43365"/>
                  <a:pt x="7013575" y="96859"/>
                </a:cubicBezTo>
                <a:lnTo>
                  <a:pt x="7013575" y="5627666"/>
                </a:lnTo>
                <a:cubicBezTo>
                  <a:pt x="7013575" y="5681160"/>
                  <a:pt x="6970210" y="5724525"/>
                  <a:pt x="6916716" y="5724525"/>
                </a:cubicBezTo>
                <a:lnTo>
                  <a:pt x="0" y="5724525"/>
                </a:lnTo>
                <a:close/>
              </a:path>
            </a:pathLst>
          </a:custGeom>
          <a:solidFill>
            <a:schemeClr val="bg1"/>
          </a:solidFill>
          <a:effectLst>
            <a:outerShdw blurRad="165100" dist="76200" dir="40800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44000" tIns="144000" rIns="144000" bIns="144000" rtlCol="0">
            <a:noAutofit/>
          </a:bodyPr>
          <a:lstStyle>
            <a:lvl1pPr marL="0" indent="0">
              <a:buNone/>
              <a:defRPr lang="en-GB" sz="2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  <a:endParaRPr lang="en-GB"/>
          </a:p>
        </p:txBody>
      </p:sp>
      <p:sp>
        <p:nvSpPr>
          <p:cNvPr id="390" name="Text Placeholder 389">
            <a:extLst>
              <a:ext uri="{FF2B5EF4-FFF2-40B4-BE49-F238E27FC236}">
                <a16:creationId xmlns:a16="http://schemas.microsoft.com/office/drawing/2014/main" id="{56AA8022-34E0-4FBC-8B1A-2941CD03FC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1877" y="1752601"/>
            <a:ext cx="5699123" cy="3790950"/>
          </a:xfrm>
          <a:prstGeom prst="roundRect">
            <a:avLst>
              <a:gd name="adj" fmla="val 1564"/>
            </a:avLst>
          </a:prstGeom>
          <a:solidFill>
            <a:schemeClr val="bg1"/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180000" indent="0">
              <a:buNone/>
              <a:defRPr sz="100">
                <a:noFill/>
              </a:defRPr>
            </a:lvl2pPr>
            <a:lvl3pPr marL="360000" indent="0">
              <a:buNone/>
              <a:defRPr sz="100">
                <a:noFill/>
              </a:defRPr>
            </a:lvl3pPr>
            <a:lvl4pPr marL="540000" indent="0">
              <a:buNone/>
              <a:defRPr sz="100">
                <a:noFill/>
              </a:defRPr>
            </a:lvl4pPr>
            <a:lvl5pPr marL="720000" indent="0">
              <a:buNone/>
              <a:defRPr sz="100">
                <a:noFill/>
              </a:defRPr>
            </a:lvl5pPr>
          </a:lstStyle>
          <a:p>
            <a:pPr lvl="0"/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252C9B-D625-43A3-9FC1-B016BBD488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2300" y="2741614"/>
            <a:ext cx="3978277" cy="1857372"/>
          </a:xfrm>
        </p:spPr>
        <p:txBody>
          <a:bodyPr anchor="ctr">
            <a:no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Wprowadź tytuł slajdu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A58C7B-6FA6-4602-A62F-D19DCB5C66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2300" y="4794250"/>
            <a:ext cx="3978277" cy="384174"/>
          </a:xfrm>
        </p:spPr>
        <p:txBody>
          <a:bodyPr anchor="b">
            <a:noAutofit/>
          </a:bodyPr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Wprowadź podtytuł</a:t>
            </a:r>
            <a:endParaRPr lang="en-GB"/>
          </a:p>
        </p:txBody>
      </p:sp>
      <p:sp>
        <p:nvSpPr>
          <p:cNvPr id="387" name="Text Placeholder 386">
            <a:extLst>
              <a:ext uri="{FF2B5EF4-FFF2-40B4-BE49-F238E27FC236}">
                <a16:creationId xmlns:a16="http://schemas.microsoft.com/office/drawing/2014/main" id="{2BC182F4-E88C-4C5A-B357-882EC1E038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7942" y="2178395"/>
            <a:ext cx="2259427" cy="444152"/>
          </a:xfrm>
          <a:custGeom>
            <a:avLst/>
            <a:gdLst>
              <a:gd name="connsiteX0" fmla="*/ 204906 w 2259427"/>
              <a:gd name="connsiteY0" fmla="*/ 315259 h 444152"/>
              <a:gd name="connsiteX1" fmla="*/ 443917 w 2259427"/>
              <a:gd name="connsiteY1" fmla="*/ 382238 h 444152"/>
              <a:gd name="connsiteX2" fmla="*/ 682903 w 2259427"/>
              <a:gd name="connsiteY2" fmla="*/ 315285 h 444152"/>
              <a:gd name="connsiteX3" fmla="*/ 692598 w 2259427"/>
              <a:gd name="connsiteY3" fmla="*/ 361388 h 444152"/>
              <a:gd name="connsiteX4" fmla="*/ 443917 w 2259427"/>
              <a:gd name="connsiteY4" fmla="*/ 444152 h 444152"/>
              <a:gd name="connsiteX5" fmla="*/ 195211 w 2259427"/>
              <a:gd name="connsiteY5" fmla="*/ 361362 h 444152"/>
              <a:gd name="connsiteX6" fmla="*/ 1042863 w 2259427"/>
              <a:gd name="connsiteY6" fmla="*/ 124255 h 444152"/>
              <a:gd name="connsiteX7" fmla="*/ 992299 w 2259427"/>
              <a:gd name="connsiteY7" fmla="*/ 188010 h 444152"/>
              <a:gd name="connsiteX8" fmla="*/ 1045940 w 2259427"/>
              <a:gd name="connsiteY8" fmla="*/ 245604 h 444152"/>
              <a:gd name="connsiteX9" fmla="*/ 1082868 w 2259427"/>
              <a:gd name="connsiteY9" fmla="*/ 240331 h 444152"/>
              <a:gd name="connsiteX10" fmla="*/ 1082868 w 2259427"/>
              <a:gd name="connsiteY10" fmla="*/ 132814 h 444152"/>
              <a:gd name="connsiteX11" fmla="*/ 1042863 w 2259427"/>
              <a:gd name="connsiteY11" fmla="*/ 124255 h 444152"/>
              <a:gd name="connsiteX12" fmla="*/ 561960 w 2259427"/>
              <a:gd name="connsiteY12" fmla="*/ 124255 h 444152"/>
              <a:gd name="connsiteX13" fmla="*/ 521948 w 2259427"/>
              <a:gd name="connsiteY13" fmla="*/ 135251 h 444152"/>
              <a:gd name="connsiteX14" fmla="*/ 521948 w 2259427"/>
              <a:gd name="connsiteY14" fmla="*/ 240331 h 444152"/>
              <a:gd name="connsiteX15" fmla="*/ 558883 w 2259427"/>
              <a:gd name="connsiteY15" fmla="*/ 245604 h 444152"/>
              <a:gd name="connsiteX16" fmla="*/ 612517 w 2259427"/>
              <a:gd name="connsiteY16" fmla="*/ 188010 h 444152"/>
              <a:gd name="connsiteX17" fmla="*/ 561960 w 2259427"/>
              <a:gd name="connsiteY17" fmla="*/ 124255 h 444152"/>
              <a:gd name="connsiteX18" fmla="*/ 318051 w 2259427"/>
              <a:gd name="connsiteY18" fmla="*/ 124255 h 444152"/>
              <a:gd name="connsiteX19" fmla="*/ 267487 w 2259427"/>
              <a:gd name="connsiteY19" fmla="*/ 188010 h 444152"/>
              <a:gd name="connsiteX20" fmla="*/ 321128 w 2259427"/>
              <a:gd name="connsiteY20" fmla="*/ 245604 h 444152"/>
              <a:gd name="connsiteX21" fmla="*/ 358063 w 2259427"/>
              <a:gd name="connsiteY21" fmla="*/ 240331 h 444152"/>
              <a:gd name="connsiteX22" fmla="*/ 358063 w 2259427"/>
              <a:gd name="connsiteY22" fmla="*/ 132814 h 444152"/>
              <a:gd name="connsiteX23" fmla="*/ 318051 w 2259427"/>
              <a:gd name="connsiteY23" fmla="*/ 124255 h 444152"/>
              <a:gd name="connsiteX24" fmla="*/ 1321088 w 2259427"/>
              <a:gd name="connsiteY24" fmla="*/ 103821 h 444152"/>
              <a:gd name="connsiteX25" fmla="*/ 1236597 w 2259427"/>
              <a:gd name="connsiteY25" fmla="*/ 185495 h 444152"/>
              <a:gd name="connsiteX26" fmla="*/ 1311430 w 2259427"/>
              <a:gd name="connsiteY26" fmla="*/ 270791 h 444152"/>
              <a:gd name="connsiteX27" fmla="*/ 1378218 w 2259427"/>
              <a:gd name="connsiteY27" fmla="*/ 245442 h 444152"/>
              <a:gd name="connsiteX28" fmla="*/ 1378218 w 2259427"/>
              <a:gd name="connsiteY28" fmla="*/ 116296 h 444152"/>
              <a:gd name="connsiteX29" fmla="*/ 1321088 w 2259427"/>
              <a:gd name="connsiteY29" fmla="*/ 103821 h 444152"/>
              <a:gd name="connsiteX30" fmla="*/ 2168103 w 2259427"/>
              <a:gd name="connsiteY30" fmla="*/ 102196 h 444152"/>
              <a:gd name="connsiteX31" fmla="*/ 2096887 w 2259427"/>
              <a:gd name="connsiteY31" fmla="*/ 176223 h 444152"/>
              <a:gd name="connsiteX32" fmla="*/ 2096887 w 2259427"/>
              <a:gd name="connsiteY32" fmla="*/ 240999 h 444152"/>
              <a:gd name="connsiteX33" fmla="*/ 2239713 w 2259427"/>
              <a:gd name="connsiteY33" fmla="*/ 185074 h 444152"/>
              <a:gd name="connsiteX34" fmla="*/ 2168103 w 2259427"/>
              <a:gd name="connsiteY34" fmla="*/ 102196 h 444152"/>
              <a:gd name="connsiteX35" fmla="*/ 1698272 w 2259427"/>
              <a:gd name="connsiteY35" fmla="*/ 101001 h 444152"/>
              <a:gd name="connsiteX36" fmla="*/ 1615793 w 2259427"/>
              <a:gd name="connsiteY36" fmla="*/ 183985 h 444152"/>
              <a:gd name="connsiteX37" fmla="*/ 1780751 w 2259427"/>
              <a:gd name="connsiteY37" fmla="*/ 183985 h 444152"/>
              <a:gd name="connsiteX38" fmla="*/ 1698272 w 2259427"/>
              <a:gd name="connsiteY38" fmla="*/ 101001 h 444152"/>
              <a:gd name="connsiteX39" fmla="*/ 1841552 w 2259427"/>
              <a:gd name="connsiteY39" fmla="*/ 88927 h 444152"/>
              <a:gd name="connsiteX40" fmla="*/ 1860866 w 2259427"/>
              <a:gd name="connsiteY40" fmla="*/ 88927 h 444152"/>
              <a:gd name="connsiteX41" fmla="*/ 1860866 w 2259427"/>
              <a:gd name="connsiteY41" fmla="*/ 206811 h 444152"/>
              <a:gd name="connsiteX42" fmla="*/ 1924031 w 2259427"/>
              <a:gd name="connsiteY42" fmla="*/ 269170 h 444152"/>
              <a:gd name="connsiteX43" fmla="*/ 1985590 w 2259427"/>
              <a:gd name="connsiteY43" fmla="*/ 203588 h 444152"/>
              <a:gd name="connsiteX44" fmla="*/ 1985590 w 2259427"/>
              <a:gd name="connsiteY44" fmla="*/ 88927 h 444152"/>
              <a:gd name="connsiteX45" fmla="*/ 2004905 w 2259427"/>
              <a:gd name="connsiteY45" fmla="*/ 88927 h 444152"/>
              <a:gd name="connsiteX46" fmla="*/ 2004905 w 2259427"/>
              <a:gd name="connsiteY46" fmla="*/ 233365 h 444152"/>
              <a:gd name="connsiteX47" fmla="*/ 2029441 w 2259427"/>
              <a:gd name="connsiteY47" fmla="*/ 267565 h 444152"/>
              <a:gd name="connsiteX48" fmla="*/ 2029847 w 2259427"/>
              <a:gd name="connsiteY48" fmla="*/ 283656 h 444152"/>
              <a:gd name="connsiteX49" fmla="*/ 1987602 w 2259427"/>
              <a:gd name="connsiteY49" fmla="*/ 252273 h 444152"/>
              <a:gd name="connsiteX50" fmla="*/ 1919608 w 2259427"/>
              <a:gd name="connsiteY50" fmla="*/ 287279 h 444152"/>
              <a:gd name="connsiteX51" fmla="*/ 1841552 w 2259427"/>
              <a:gd name="connsiteY51" fmla="*/ 206811 h 444152"/>
              <a:gd name="connsiteX52" fmla="*/ 1322293 w 2259427"/>
              <a:gd name="connsiteY52" fmla="*/ 84913 h 444152"/>
              <a:gd name="connsiteX53" fmla="*/ 1397126 w 2259427"/>
              <a:gd name="connsiteY53" fmla="*/ 103422 h 444152"/>
              <a:gd name="connsiteX54" fmla="*/ 1397126 w 2259427"/>
              <a:gd name="connsiteY54" fmla="*/ 300162 h 444152"/>
              <a:gd name="connsiteX55" fmla="*/ 1309819 w 2259427"/>
              <a:gd name="connsiteY55" fmla="*/ 389881 h 444152"/>
              <a:gd name="connsiteX56" fmla="*/ 1230563 w 2259427"/>
              <a:gd name="connsiteY56" fmla="*/ 368155 h 444152"/>
              <a:gd name="connsiteX57" fmla="*/ 1235392 w 2259427"/>
              <a:gd name="connsiteY57" fmla="*/ 350453 h 444152"/>
              <a:gd name="connsiteX58" fmla="*/ 1309819 w 2259427"/>
              <a:gd name="connsiteY58" fmla="*/ 371778 h 444152"/>
              <a:gd name="connsiteX59" fmla="*/ 1378218 w 2259427"/>
              <a:gd name="connsiteY59" fmla="*/ 300162 h 444152"/>
              <a:gd name="connsiteX60" fmla="*/ 1378218 w 2259427"/>
              <a:gd name="connsiteY60" fmla="*/ 265962 h 444152"/>
              <a:gd name="connsiteX61" fmla="*/ 1310225 w 2259427"/>
              <a:gd name="connsiteY61" fmla="*/ 288087 h 444152"/>
              <a:gd name="connsiteX62" fmla="*/ 1217283 w 2259427"/>
              <a:gd name="connsiteY62" fmla="*/ 185495 h 444152"/>
              <a:gd name="connsiteX63" fmla="*/ 1322293 w 2259427"/>
              <a:gd name="connsiteY63" fmla="*/ 84913 h 444152"/>
              <a:gd name="connsiteX64" fmla="*/ 1537958 w 2259427"/>
              <a:gd name="connsiteY64" fmla="*/ 84905 h 444152"/>
              <a:gd name="connsiteX65" fmla="*/ 1587443 w 2259427"/>
              <a:gd name="connsiteY65" fmla="*/ 100196 h 444152"/>
              <a:gd name="connsiteX66" fmla="*/ 1580603 w 2259427"/>
              <a:gd name="connsiteY66" fmla="*/ 117093 h 444152"/>
              <a:gd name="connsiteX67" fmla="*/ 1536347 w 2259427"/>
              <a:gd name="connsiteY67" fmla="*/ 103813 h 444152"/>
              <a:gd name="connsiteX68" fmla="*/ 1479622 w 2259427"/>
              <a:gd name="connsiteY68" fmla="*/ 157327 h 444152"/>
              <a:gd name="connsiteX69" fmla="*/ 1479622 w 2259427"/>
              <a:gd name="connsiteY69" fmla="*/ 282851 h 444152"/>
              <a:gd name="connsiteX70" fmla="*/ 1460308 w 2259427"/>
              <a:gd name="connsiteY70" fmla="*/ 282851 h 444152"/>
              <a:gd name="connsiteX71" fmla="*/ 1460308 w 2259427"/>
              <a:gd name="connsiteY71" fmla="*/ 133584 h 444152"/>
              <a:gd name="connsiteX72" fmla="*/ 1435366 w 2259427"/>
              <a:gd name="connsiteY72" fmla="*/ 105824 h 444152"/>
              <a:gd name="connsiteX73" fmla="*/ 1434560 w 2259427"/>
              <a:gd name="connsiteY73" fmla="*/ 89334 h 444152"/>
              <a:gd name="connsiteX74" fmla="*/ 1478816 w 2259427"/>
              <a:gd name="connsiteY74" fmla="*/ 114676 h 444152"/>
              <a:gd name="connsiteX75" fmla="*/ 1537958 w 2259427"/>
              <a:gd name="connsiteY75" fmla="*/ 84905 h 444152"/>
              <a:gd name="connsiteX76" fmla="*/ 2171320 w 2259427"/>
              <a:gd name="connsiteY76" fmla="*/ 84093 h 444152"/>
              <a:gd name="connsiteX77" fmla="*/ 2259427 w 2259427"/>
              <a:gd name="connsiteY77" fmla="*/ 185074 h 444152"/>
              <a:gd name="connsiteX78" fmla="*/ 2096887 w 2259427"/>
              <a:gd name="connsiteY78" fmla="*/ 261113 h 444152"/>
              <a:gd name="connsiteX79" fmla="*/ 2096887 w 2259427"/>
              <a:gd name="connsiteY79" fmla="*/ 383020 h 444152"/>
              <a:gd name="connsiteX80" fmla="*/ 2077978 w 2259427"/>
              <a:gd name="connsiteY80" fmla="*/ 383020 h 444152"/>
              <a:gd name="connsiteX81" fmla="*/ 2077978 w 2259427"/>
              <a:gd name="connsiteY81" fmla="*/ 148057 h 444152"/>
              <a:gd name="connsiteX82" fmla="*/ 2053036 w 2259427"/>
              <a:gd name="connsiteY82" fmla="*/ 103001 h 444152"/>
              <a:gd name="connsiteX83" fmla="*/ 2052230 w 2259427"/>
              <a:gd name="connsiteY83" fmla="*/ 86904 h 444152"/>
              <a:gd name="connsiteX84" fmla="*/ 2094475 w 2259427"/>
              <a:gd name="connsiteY84" fmla="*/ 122309 h 444152"/>
              <a:gd name="connsiteX85" fmla="*/ 2094475 w 2259427"/>
              <a:gd name="connsiteY85" fmla="*/ 127944 h 444152"/>
              <a:gd name="connsiteX86" fmla="*/ 2171320 w 2259427"/>
              <a:gd name="connsiteY86" fmla="*/ 84093 h 444152"/>
              <a:gd name="connsiteX87" fmla="*/ 1698269 w 2259427"/>
              <a:gd name="connsiteY87" fmla="*/ 83503 h 444152"/>
              <a:gd name="connsiteX88" fmla="*/ 1800059 w 2259427"/>
              <a:gd name="connsiteY88" fmla="*/ 183985 h 444152"/>
              <a:gd name="connsiteX89" fmla="*/ 1596479 w 2259427"/>
              <a:gd name="connsiteY89" fmla="*/ 183985 h 444152"/>
              <a:gd name="connsiteX90" fmla="*/ 1698269 w 2259427"/>
              <a:gd name="connsiteY90" fmla="*/ 83503 h 444152"/>
              <a:gd name="connsiteX91" fmla="*/ 6592 w 2259427"/>
              <a:gd name="connsiteY91" fmla="*/ 78970 h 444152"/>
              <a:gd name="connsiteX92" fmla="*/ 181138 w 2259427"/>
              <a:gd name="connsiteY92" fmla="*/ 78970 h 444152"/>
              <a:gd name="connsiteX93" fmla="*/ 181138 w 2259427"/>
              <a:gd name="connsiteY93" fmla="*/ 86007 h 444152"/>
              <a:gd name="connsiteX94" fmla="*/ 88811 w 2259427"/>
              <a:gd name="connsiteY94" fmla="*/ 237698 h 444152"/>
              <a:gd name="connsiteX95" fmla="*/ 181138 w 2259427"/>
              <a:gd name="connsiteY95" fmla="*/ 237698 h 444152"/>
              <a:gd name="connsiteX96" fmla="*/ 181138 w 2259427"/>
              <a:gd name="connsiteY96" fmla="*/ 290894 h 444152"/>
              <a:gd name="connsiteX97" fmla="*/ 0 w 2259427"/>
              <a:gd name="connsiteY97" fmla="*/ 290894 h 444152"/>
              <a:gd name="connsiteX98" fmla="*/ 0 w 2259427"/>
              <a:gd name="connsiteY98" fmla="*/ 283858 h 444152"/>
              <a:gd name="connsiteX99" fmla="*/ 93646 w 2259427"/>
              <a:gd name="connsiteY99" fmla="*/ 129978 h 444152"/>
              <a:gd name="connsiteX100" fmla="*/ 6592 w 2259427"/>
              <a:gd name="connsiteY100" fmla="*/ 129978 h 444152"/>
              <a:gd name="connsiteX101" fmla="*/ 1032311 w 2259427"/>
              <a:gd name="connsiteY101" fmla="*/ 74573 h 444152"/>
              <a:gd name="connsiteX102" fmla="*/ 1142663 w 2259427"/>
              <a:gd name="connsiteY102" fmla="*/ 98818 h 444152"/>
              <a:gd name="connsiteX103" fmla="*/ 1142663 w 2259427"/>
              <a:gd name="connsiteY103" fmla="*/ 278947 h 444152"/>
              <a:gd name="connsiteX104" fmla="*/ 1052970 w 2259427"/>
              <a:gd name="connsiteY104" fmla="*/ 295292 h 444152"/>
              <a:gd name="connsiteX105" fmla="*/ 930746 w 2259427"/>
              <a:gd name="connsiteY105" fmla="*/ 188010 h 444152"/>
              <a:gd name="connsiteX106" fmla="*/ 1032311 w 2259427"/>
              <a:gd name="connsiteY106" fmla="*/ 74573 h 444152"/>
              <a:gd name="connsiteX107" fmla="*/ 307499 w 2259427"/>
              <a:gd name="connsiteY107" fmla="*/ 74573 h 444152"/>
              <a:gd name="connsiteX108" fmla="*/ 417852 w 2259427"/>
              <a:gd name="connsiteY108" fmla="*/ 98818 h 444152"/>
              <a:gd name="connsiteX109" fmla="*/ 417852 w 2259427"/>
              <a:gd name="connsiteY109" fmla="*/ 278947 h 444152"/>
              <a:gd name="connsiteX110" fmla="*/ 328165 w 2259427"/>
              <a:gd name="connsiteY110" fmla="*/ 295292 h 444152"/>
              <a:gd name="connsiteX111" fmla="*/ 205934 w 2259427"/>
              <a:gd name="connsiteY111" fmla="*/ 188010 h 444152"/>
              <a:gd name="connsiteX112" fmla="*/ 307499 w 2259427"/>
              <a:gd name="connsiteY112" fmla="*/ 74573 h 444152"/>
              <a:gd name="connsiteX113" fmla="*/ 462153 w 2259427"/>
              <a:gd name="connsiteY113" fmla="*/ 7595 h 444152"/>
              <a:gd name="connsiteX114" fmla="*/ 523268 w 2259427"/>
              <a:gd name="connsiteY114" fmla="*/ 7595 h 444152"/>
              <a:gd name="connsiteX115" fmla="*/ 523268 w 2259427"/>
              <a:gd name="connsiteY115" fmla="*/ 84694 h 444152"/>
              <a:gd name="connsiteX116" fmla="*/ 572506 w 2259427"/>
              <a:gd name="connsiteY116" fmla="*/ 74573 h 444152"/>
              <a:gd name="connsiteX117" fmla="*/ 674070 w 2259427"/>
              <a:gd name="connsiteY117" fmla="*/ 188010 h 444152"/>
              <a:gd name="connsiteX118" fmla="*/ 551846 w 2259427"/>
              <a:gd name="connsiteY118" fmla="*/ 295292 h 444152"/>
              <a:gd name="connsiteX119" fmla="*/ 462153 w 2259427"/>
              <a:gd name="connsiteY119" fmla="*/ 278585 h 444152"/>
              <a:gd name="connsiteX120" fmla="*/ 709926 w 2259427"/>
              <a:gd name="connsiteY120" fmla="*/ 7151 h 444152"/>
              <a:gd name="connsiteX121" fmla="*/ 771041 w 2259427"/>
              <a:gd name="connsiteY121" fmla="*/ 7151 h 444152"/>
              <a:gd name="connsiteX122" fmla="*/ 771041 w 2259427"/>
              <a:gd name="connsiteY122" fmla="*/ 156799 h 444152"/>
              <a:gd name="connsiteX123" fmla="*/ 785990 w 2259427"/>
              <a:gd name="connsiteY123" fmla="*/ 156799 h 444152"/>
              <a:gd name="connsiteX124" fmla="*/ 847099 w 2259427"/>
              <a:gd name="connsiteY124" fmla="*/ 78970 h 444152"/>
              <a:gd name="connsiteX125" fmla="*/ 905144 w 2259427"/>
              <a:gd name="connsiteY125" fmla="*/ 78970 h 444152"/>
              <a:gd name="connsiteX126" fmla="*/ 854574 w 2259427"/>
              <a:gd name="connsiteY126" fmla="*/ 183181 h 444152"/>
              <a:gd name="connsiteX127" fmla="*/ 915251 w 2259427"/>
              <a:gd name="connsiteY127" fmla="*/ 284296 h 444152"/>
              <a:gd name="connsiteX128" fmla="*/ 915251 w 2259427"/>
              <a:gd name="connsiteY128" fmla="*/ 290450 h 444152"/>
              <a:gd name="connsiteX129" fmla="*/ 853260 w 2259427"/>
              <a:gd name="connsiteY129" fmla="*/ 290450 h 444152"/>
              <a:gd name="connsiteX130" fmla="*/ 802697 w 2259427"/>
              <a:gd name="connsiteY130" fmla="*/ 202521 h 444152"/>
              <a:gd name="connsiteX131" fmla="*/ 785108 w 2259427"/>
              <a:gd name="connsiteY131" fmla="*/ 205160 h 444152"/>
              <a:gd name="connsiteX132" fmla="*/ 771041 w 2259427"/>
              <a:gd name="connsiteY132" fmla="*/ 205160 h 444152"/>
              <a:gd name="connsiteX133" fmla="*/ 771041 w 2259427"/>
              <a:gd name="connsiteY133" fmla="*/ 290450 h 444152"/>
              <a:gd name="connsiteX134" fmla="*/ 709926 w 2259427"/>
              <a:gd name="connsiteY134" fmla="*/ 290450 h 444152"/>
              <a:gd name="connsiteX135" fmla="*/ 95842 w 2259427"/>
              <a:gd name="connsiteY135" fmla="*/ 0 h 444152"/>
              <a:gd name="connsiteX136" fmla="*/ 129153 w 2259427"/>
              <a:gd name="connsiteY136" fmla="*/ 30805 h 444152"/>
              <a:gd name="connsiteX137" fmla="*/ 95842 w 2259427"/>
              <a:gd name="connsiteY137" fmla="*/ 60786 h 444152"/>
              <a:gd name="connsiteX138" fmla="*/ 63374 w 2259427"/>
              <a:gd name="connsiteY138" fmla="*/ 30805 h 444152"/>
              <a:gd name="connsiteX139" fmla="*/ 95842 w 2259427"/>
              <a:gd name="connsiteY139" fmla="*/ 0 h 444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2259427" h="444152">
                <a:moveTo>
                  <a:pt x="204906" y="315259"/>
                </a:moveTo>
                <a:cubicBezTo>
                  <a:pt x="273084" y="357505"/>
                  <a:pt x="355379" y="382238"/>
                  <a:pt x="443917" y="382238"/>
                </a:cubicBezTo>
                <a:cubicBezTo>
                  <a:pt x="532449" y="382238"/>
                  <a:pt x="614725" y="357511"/>
                  <a:pt x="682903" y="315285"/>
                </a:cubicBezTo>
                <a:lnTo>
                  <a:pt x="692598" y="361388"/>
                </a:lnTo>
                <a:cubicBezTo>
                  <a:pt x="623196" y="413347"/>
                  <a:pt x="537088" y="444152"/>
                  <a:pt x="443917" y="444152"/>
                </a:cubicBezTo>
                <a:cubicBezTo>
                  <a:pt x="350734" y="444152"/>
                  <a:pt x="264613" y="413335"/>
                  <a:pt x="195211" y="361362"/>
                </a:cubicBezTo>
                <a:close/>
                <a:moveTo>
                  <a:pt x="1042863" y="124255"/>
                </a:moveTo>
                <a:cubicBezTo>
                  <a:pt x="1014284" y="125581"/>
                  <a:pt x="992299" y="140524"/>
                  <a:pt x="992299" y="188010"/>
                </a:cubicBezTo>
                <a:cubicBezTo>
                  <a:pt x="992299" y="231099"/>
                  <a:pt x="1014722" y="245166"/>
                  <a:pt x="1045940" y="245604"/>
                </a:cubicBezTo>
                <a:cubicBezTo>
                  <a:pt x="1057367" y="246041"/>
                  <a:pt x="1069677" y="243852"/>
                  <a:pt x="1082868" y="240331"/>
                </a:cubicBezTo>
                <a:lnTo>
                  <a:pt x="1082868" y="132814"/>
                </a:lnTo>
                <a:cubicBezTo>
                  <a:pt x="1068446" y="126349"/>
                  <a:pt x="1055166" y="123817"/>
                  <a:pt x="1042863" y="124255"/>
                </a:cubicBezTo>
                <a:close/>
                <a:moveTo>
                  <a:pt x="561960" y="124255"/>
                </a:moveTo>
                <a:cubicBezTo>
                  <a:pt x="549651" y="123817"/>
                  <a:pt x="536015" y="127332"/>
                  <a:pt x="521948" y="135251"/>
                </a:cubicBezTo>
                <a:lnTo>
                  <a:pt x="521948" y="240331"/>
                </a:lnTo>
                <a:cubicBezTo>
                  <a:pt x="535133" y="243852"/>
                  <a:pt x="547449" y="246041"/>
                  <a:pt x="558883" y="245604"/>
                </a:cubicBezTo>
                <a:cubicBezTo>
                  <a:pt x="590094" y="245166"/>
                  <a:pt x="612517" y="231099"/>
                  <a:pt x="612517" y="188010"/>
                </a:cubicBezTo>
                <a:cubicBezTo>
                  <a:pt x="612517" y="140524"/>
                  <a:pt x="590538" y="125581"/>
                  <a:pt x="561960" y="124255"/>
                </a:cubicBezTo>
                <a:close/>
                <a:moveTo>
                  <a:pt x="318051" y="124255"/>
                </a:moveTo>
                <a:cubicBezTo>
                  <a:pt x="289473" y="125581"/>
                  <a:pt x="267487" y="140524"/>
                  <a:pt x="267487" y="188010"/>
                </a:cubicBezTo>
                <a:cubicBezTo>
                  <a:pt x="267487" y="231099"/>
                  <a:pt x="289911" y="245166"/>
                  <a:pt x="321128" y="245604"/>
                </a:cubicBezTo>
                <a:cubicBezTo>
                  <a:pt x="332556" y="246041"/>
                  <a:pt x="344865" y="243852"/>
                  <a:pt x="358063" y="240331"/>
                </a:cubicBezTo>
                <a:lnTo>
                  <a:pt x="358063" y="132814"/>
                </a:lnTo>
                <a:cubicBezTo>
                  <a:pt x="343634" y="126349"/>
                  <a:pt x="330360" y="123817"/>
                  <a:pt x="318051" y="124255"/>
                </a:cubicBezTo>
                <a:close/>
                <a:moveTo>
                  <a:pt x="1321088" y="103821"/>
                </a:moveTo>
                <a:cubicBezTo>
                  <a:pt x="1270797" y="103821"/>
                  <a:pt x="1236597" y="130375"/>
                  <a:pt x="1236597" y="185495"/>
                </a:cubicBezTo>
                <a:cubicBezTo>
                  <a:pt x="1236597" y="244637"/>
                  <a:pt x="1271197" y="270791"/>
                  <a:pt x="1311430" y="270791"/>
                </a:cubicBezTo>
                <a:cubicBezTo>
                  <a:pt x="1333555" y="270791"/>
                  <a:pt x="1356893" y="262745"/>
                  <a:pt x="1378218" y="245442"/>
                </a:cubicBezTo>
                <a:lnTo>
                  <a:pt x="1378218" y="116296"/>
                </a:lnTo>
                <a:cubicBezTo>
                  <a:pt x="1358504" y="107844"/>
                  <a:pt x="1339590" y="103821"/>
                  <a:pt x="1321088" y="103821"/>
                </a:cubicBezTo>
                <a:close/>
                <a:moveTo>
                  <a:pt x="2168103" y="102196"/>
                </a:moveTo>
                <a:cubicBezTo>
                  <a:pt x="2125458" y="102196"/>
                  <a:pt x="2098098" y="135589"/>
                  <a:pt x="2096887" y="176223"/>
                </a:cubicBezTo>
                <a:lnTo>
                  <a:pt x="2096887" y="240999"/>
                </a:lnTo>
                <a:cubicBezTo>
                  <a:pt x="2156029" y="290484"/>
                  <a:pt x="2239713" y="267953"/>
                  <a:pt x="2239713" y="185074"/>
                </a:cubicBezTo>
                <a:cubicBezTo>
                  <a:pt x="2239713" y="141624"/>
                  <a:pt x="2215577" y="102196"/>
                  <a:pt x="2168103" y="102196"/>
                </a:cubicBezTo>
                <a:close/>
                <a:moveTo>
                  <a:pt x="1698272" y="101001"/>
                </a:moveTo>
                <a:cubicBezTo>
                  <a:pt x="1657033" y="101001"/>
                  <a:pt x="1615793" y="128662"/>
                  <a:pt x="1615793" y="183985"/>
                </a:cubicBezTo>
                <a:cubicBezTo>
                  <a:pt x="1615793" y="293824"/>
                  <a:pt x="1780751" y="294623"/>
                  <a:pt x="1780751" y="183985"/>
                </a:cubicBezTo>
                <a:cubicBezTo>
                  <a:pt x="1780751" y="128662"/>
                  <a:pt x="1739511" y="101001"/>
                  <a:pt x="1698272" y="101001"/>
                </a:cubicBezTo>
                <a:close/>
                <a:moveTo>
                  <a:pt x="1841552" y="88927"/>
                </a:moveTo>
                <a:lnTo>
                  <a:pt x="1860866" y="88927"/>
                </a:lnTo>
                <a:lnTo>
                  <a:pt x="1860866" y="206811"/>
                </a:lnTo>
                <a:cubicBezTo>
                  <a:pt x="1860866" y="245433"/>
                  <a:pt x="1886614" y="269170"/>
                  <a:pt x="1924031" y="269170"/>
                </a:cubicBezTo>
                <a:cubicBezTo>
                  <a:pt x="1962659" y="269576"/>
                  <a:pt x="1985590" y="243822"/>
                  <a:pt x="1985590" y="203588"/>
                </a:cubicBezTo>
                <a:lnTo>
                  <a:pt x="1985590" y="88927"/>
                </a:lnTo>
                <a:lnTo>
                  <a:pt x="2004905" y="88927"/>
                </a:lnTo>
                <a:lnTo>
                  <a:pt x="2004905" y="233365"/>
                </a:lnTo>
                <a:cubicBezTo>
                  <a:pt x="2004905" y="264342"/>
                  <a:pt x="2008122" y="270782"/>
                  <a:pt x="2029441" y="267565"/>
                </a:cubicBezTo>
                <a:lnTo>
                  <a:pt x="2029847" y="283656"/>
                </a:lnTo>
                <a:cubicBezTo>
                  <a:pt x="2000476" y="288078"/>
                  <a:pt x="1987602" y="283250"/>
                  <a:pt x="1987602" y="252273"/>
                </a:cubicBezTo>
                <a:cubicBezTo>
                  <a:pt x="1969493" y="279227"/>
                  <a:pt x="1950185" y="287279"/>
                  <a:pt x="1919608" y="287279"/>
                </a:cubicBezTo>
                <a:cubicBezTo>
                  <a:pt x="1870523" y="287279"/>
                  <a:pt x="1841552" y="253479"/>
                  <a:pt x="1841552" y="206811"/>
                </a:cubicBezTo>
                <a:close/>
                <a:moveTo>
                  <a:pt x="1322293" y="84913"/>
                </a:moveTo>
                <a:cubicBezTo>
                  <a:pt x="1349253" y="85313"/>
                  <a:pt x="1373390" y="92559"/>
                  <a:pt x="1397126" y="103422"/>
                </a:cubicBezTo>
                <a:lnTo>
                  <a:pt x="1397126" y="300162"/>
                </a:lnTo>
                <a:cubicBezTo>
                  <a:pt x="1397126" y="362927"/>
                  <a:pt x="1356893" y="389475"/>
                  <a:pt x="1309819" y="389881"/>
                </a:cubicBezTo>
                <a:cubicBezTo>
                  <a:pt x="1283671" y="390280"/>
                  <a:pt x="1255505" y="382641"/>
                  <a:pt x="1230563" y="368155"/>
                </a:cubicBezTo>
                <a:lnTo>
                  <a:pt x="1235392" y="350453"/>
                </a:lnTo>
                <a:cubicBezTo>
                  <a:pt x="1258322" y="363726"/>
                  <a:pt x="1285283" y="371778"/>
                  <a:pt x="1309819" y="371778"/>
                </a:cubicBezTo>
                <a:cubicBezTo>
                  <a:pt x="1347235" y="371778"/>
                  <a:pt x="1378218" y="352064"/>
                  <a:pt x="1378218" y="300162"/>
                </a:cubicBezTo>
                <a:lnTo>
                  <a:pt x="1378218" y="265962"/>
                </a:lnTo>
                <a:cubicBezTo>
                  <a:pt x="1355687" y="280848"/>
                  <a:pt x="1332756" y="287688"/>
                  <a:pt x="1310225" y="288087"/>
                </a:cubicBezTo>
                <a:cubicBezTo>
                  <a:pt x="1259934" y="289299"/>
                  <a:pt x="1217283" y="255100"/>
                  <a:pt x="1217283" y="185495"/>
                </a:cubicBezTo>
                <a:cubicBezTo>
                  <a:pt x="1217283" y="118707"/>
                  <a:pt x="1261539" y="84913"/>
                  <a:pt x="1322293" y="84913"/>
                </a:cubicBezTo>
                <a:close/>
                <a:moveTo>
                  <a:pt x="1537958" y="84905"/>
                </a:moveTo>
                <a:cubicBezTo>
                  <a:pt x="1556866" y="85311"/>
                  <a:pt x="1574569" y="90939"/>
                  <a:pt x="1587443" y="100196"/>
                </a:cubicBezTo>
                <a:lnTo>
                  <a:pt x="1580603" y="117093"/>
                </a:lnTo>
                <a:cubicBezTo>
                  <a:pt x="1568135" y="107836"/>
                  <a:pt x="1552038" y="103813"/>
                  <a:pt x="1536347" y="103813"/>
                </a:cubicBezTo>
                <a:cubicBezTo>
                  <a:pt x="1507382" y="103813"/>
                  <a:pt x="1479622" y="124333"/>
                  <a:pt x="1479622" y="157327"/>
                </a:cubicBezTo>
                <a:lnTo>
                  <a:pt x="1479622" y="282851"/>
                </a:lnTo>
                <a:lnTo>
                  <a:pt x="1460308" y="282851"/>
                </a:lnTo>
                <a:lnTo>
                  <a:pt x="1460308" y="133584"/>
                </a:lnTo>
                <a:cubicBezTo>
                  <a:pt x="1460308" y="114676"/>
                  <a:pt x="1459908" y="102607"/>
                  <a:pt x="1435366" y="105824"/>
                </a:cubicBezTo>
                <a:lnTo>
                  <a:pt x="1434560" y="89334"/>
                </a:lnTo>
                <a:cubicBezTo>
                  <a:pt x="1465536" y="84099"/>
                  <a:pt x="1478816" y="92145"/>
                  <a:pt x="1478816" y="114676"/>
                </a:cubicBezTo>
                <a:cubicBezTo>
                  <a:pt x="1491690" y="91745"/>
                  <a:pt x="1515427" y="83699"/>
                  <a:pt x="1537958" y="84905"/>
                </a:cubicBezTo>
                <a:close/>
                <a:moveTo>
                  <a:pt x="2171320" y="84093"/>
                </a:moveTo>
                <a:cubicBezTo>
                  <a:pt x="2228051" y="84093"/>
                  <a:pt x="2259427" y="131567"/>
                  <a:pt x="2259427" y="185074"/>
                </a:cubicBezTo>
                <a:cubicBezTo>
                  <a:pt x="2259427" y="277211"/>
                  <a:pt x="2167297" y="313422"/>
                  <a:pt x="2096887" y="261113"/>
                </a:cubicBezTo>
                <a:lnTo>
                  <a:pt x="2096887" y="383020"/>
                </a:lnTo>
                <a:lnTo>
                  <a:pt x="2077978" y="383020"/>
                </a:lnTo>
                <a:lnTo>
                  <a:pt x="2077978" y="148057"/>
                </a:lnTo>
                <a:cubicBezTo>
                  <a:pt x="2077978" y="118693"/>
                  <a:pt x="2080396" y="98573"/>
                  <a:pt x="2053036" y="103001"/>
                </a:cubicBezTo>
                <a:lnTo>
                  <a:pt x="2052230" y="86904"/>
                </a:lnTo>
                <a:cubicBezTo>
                  <a:pt x="2084419" y="81676"/>
                  <a:pt x="2094475" y="95356"/>
                  <a:pt x="2094475" y="122309"/>
                </a:cubicBezTo>
                <a:lnTo>
                  <a:pt x="2094475" y="127944"/>
                </a:lnTo>
                <a:cubicBezTo>
                  <a:pt x="2110167" y="95755"/>
                  <a:pt x="2137526" y="84093"/>
                  <a:pt x="2171320" y="84093"/>
                </a:cubicBezTo>
                <a:close/>
                <a:moveTo>
                  <a:pt x="1698269" y="83503"/>
                </a:moveTo>
                <a:cubicBezTo>
                  <a:pt x="1749164" y="83503"/>
                  <a:pt x="1800059" y="116997"/>
                  <a:pt x="1800059" y="183985"/>
                </a:cubicBezTo>
                <a:cubicBezTo>
                  <a:pt x="1800059" y="317560"/>
                  <a:pt x="1596479" y="317560"/>
                  <a:pt x="1596479" y="183985"/>
                </a:cubicBezTo>
                <a:cubicBezTo>
                  <a:pt x="1596479" y="116997"/>
                  <a:pt x="1647374" y="83503"/>
                  <a:pt x="1698269" y="83503"/>
                </a:cubicBezTo>
                <a:close/>
                <a:moveTo>
                  <a:pt x="6592" y="78970"/>
                </a:moveTo>
                <a:lnTo>
                  <a:pt x="181138" y="78970"/>
                </a:lnTo>
                <a:lnTo>
                  <a:pt x="181138" y="86007"/>
                </a:lnTo>
                <a:lnTo>
                  <a:pt x="88811" y="237698"/>
                </a:lnTo>
                <a:lnTo>
                  <a:pt x="181138" y="237698"/>
                </a:lnTo>
                <a:lnTo>
                  <a:pt x="181138" y="290894"/>
                </a:lnTo>
                <a:lnTo>
                  <a:pt x="0" y="290894"/>
                </a:lnTo>
                <a:lnTo>
                  <a:pt x="0" y="283858"/>
                </a:lnTo>
                <a:lnTo>
                  <a:pt x="93646" y="129978"/>
                </a:lnTo>
                <a:lnTo>
                  <a:pt x="6592" y="129978"/>
                </a:lnTo>
                <a:close/>
                <a:moveTo>
                  <a:pt x="1032311" y="74573"/>
                </a:moveTo>
                <a:cubicBezTo>
                  <a:pt x="1092779" y="74573"/>
                  <a:pt x="1142663" y="98818"/>
                  <a:pt x="1142663" y="98818"/>
                </a:cubicBezTo>
                <a:lnTo>
                  <a:pt x="1142663" y="278947"/>
                </a:lnTo>
                <a:cubicBezTo>
                  <a:pt x="1116693" y="282811"/>
                  <a:pt x="1093743" y="294879"/>
                  <a:pt x="1052970" y="295292"/>
                </a:cubicBezTo>
                <a:cubicBezTo>
                  <a:pt x="988346" y="295945"/>
                  <a:pt x="930746" y="270673"/>
                  <a:pt x="930746" y="188010"/>
                </a:cubicBezTo>
                <a:cubicBezTo>
                  <a:pt x="930746" y="114591"/>
                  <a:pt x="973391" y="74573"/>
                  <a:pt x="1032311" y="74573"/>
                </a:cubicBezTo>
                <a:close/>
                <a:moveTo>
                  <a:pt x="307499" y="74573"/>
                </a:moveTo>
                <a:cubicBezTo>
                  <a:pt x="367967" y="74573"/>
                  <a:pt x="417852" y="98818"/>
                  <a:pt x="417852" y="98818"/>
                </a:cubicBezTo>
                <a:lnTo>
                  <a:pt x="417852" y="278947"/>
                </a:lnTo>
                <a:cubicBezTo>
                  <a:pt x="391882" y="282811"/>
                  <a:pt x="368932" y="294879"/>
                  <a:pt x="328165" y="295292"/>
                </a:cubicBezTo>
                <a:cubicBezTo>
                  <a:pt x="263534" y="295945"/>
                  <a:pt x="205934" y="270673"/>
                  <a:pt x="205934" y="188010"/>
                </a:cubicBezTo>
                <a:cubicBezTo>
                  <a:pt x="205934" y="114591"/>
                  <a:pt x="248579" y="74573"/>
                  <a:pt x="307499" y="74573"/>
                </a:cubicBezTo>
                <a:close/>
                <a:moveTo>
                  <a:pt x="462153" y="7595"/>
                </a:moveTo>
                <a:lnTo>
                  <a:pt x="523268" y="7595"/>
                </a:lnTo>
                <a:lnTo>
                  <a:pt x="523268" y="84694"/>
                </a:lnTo>
                <a:cubicBezTo>
                  <a:pt x="540412" y="77651"/>
                  <a:pt x="557119" y="74573"/>
                  <a:pt x="572506" y="74573"/>
                </a:cubicBezTo>
                <a:cubicBezTo>
                  <a:pt x="631425" y="74135"/>
                  <a:pt x="674070" y="114591"/>
                  <a:pt x="674070" y="188010"/>
                </a:cubicBezTo>
                <a:cubicBezTo>
                  <a:pt x="674070" y="270673"/>
                  <a:pt x="616470" y="294613"/>
                  <a:pt x="551846" y="295292"/>
                </a:cubicBezTo>
                <a:cubicBezTo>
                  <a:pt x="515521" y="295672"/>
                  <a:pt x="492228" y="283249"/>
                  <a:pt x="462153" y="278585"/>
                </a:cubicBezTo>
                <a:close/>
                <a:moveTo>
                  <a:pt x="709926" y="7151"/>
                </a:moveTo>
                <a:lnTo>
                  <a:pt x="771041" y="7151"/>
                </a:lnTo>
                <a:lnTo>
                  <a:pt x="771041" y="156799"/>
                </a:lnTo>
                <a:lnTo>
                  <a:pt x="785990" y="156799"/>
                </a:lnTo>
                <a:cubicBezTo>
                  <a:pt x="834796" y="156799"/>
                  <a:pt x="847099" y="122497"/>
                  <a:pt x="847099" y="78970"/>
                </a:cubicBezTo>
                <a:lnTo>
                  <a:pt x="905144" y="78970"/>
                </a:lnTo>
                <a:cubicBezTo>
                  <a:pt x="906457" y="123817"/>
                  <a:pt x="896343" y="161189"/>
                  <a:pt x="854574" y="183181"/>
                </a:cubicBezTo>
                <a:lnTo>
                  <a:pt x="915251" y="284296"/>
                </a:lnTo>
                <a:lnTo>
                  <a:pt x="915251" y="290450"/>
                </a:lnTo>
                <a:lnTo>
                  <a:pt x="853260" y="290450"/>
                </a:lnTo>
                <a:lnTo>
                  <a:pt x="802697" y="202521"/>
                </a:lnTo>
                <a:cubicBezTo>
                  <a:pt x="797424" y="204278"/>
                  <a:pt x="791707" y="205160"/>
                  <a:pt x="785108" y="205160"/>
                </a:cubicBezTo>
                <a:lnTo>
                  <a:pt x="771041" y="205160"/>
                </a:lnTo>
                <a:lnTo>
                  <a:pt x="771041" y="290450"/>
                </a:lnTo>
                <a:lnTo>
                  <a:pt x="709926" y="290450"/>
                </a:lnTo>
                <a:close/>
                <a:moveTo>
                  <a:pt x="95842" y="0"/>
                </a:moveTo>
                <a:cubicBezTo>
                  <a:pt x="114578" y="0"/>
                  <a:pt x="129153" y="12075"/>
                  <a:pt x="129153" y="30805"/>
                </a:cubicBezTo>
                <a:cubicBezTo>
                  <a:pt x="129153" y="49130"/>
                  <a:pt x="114578" y="60786"/>
                  <a:pt x="95842" y="60786"/>
                </a:cubicBezTo>
                <a:cubicBezTo>
                  <a:pt x="77942" y="60786"/>
                  <a:pt x="63374" y="49130"/>
                  <a:pt x="63374" y="30805"/>
                </a:cubicBezTo>
                <a:cubicBezTo>
                  <a:pt x="63374" y="12075"/>
                  <a:pt x="77942" y="0"/>
                  <a:pt x="9584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180000" indent="0">
              <a:buNone/>
              <a:defRPr sz="100">
                <a:noFill/>
              </a:defRPr>
            </a:lvl2pPr>
            <a:lvl3pPr marL="360000" indent="0">
              <a:buNone/>
              <a:defRPr sz="100">
                <a:noFill/>
              </a:defRPr>
            </a:lvl3pPr>
            <a:lvl4pPr marL="540000" indent="0">
              <a:buNone/>
              <a:defRPr sz="100">
                <a:noFill/>
              </a:defRPr>
            </a:lvl4pPr>
            <a:lvl5pPr marL="720000" indent="0">
              <a:buNone/>
              <a:defRPr sz="100">
                <a:noFill/>
              </a:defRPr>
            </a:lvl5pPr>
          </a:lstStyle>
          <a:p>
            <a:pPr lvl="0"/>
            <a:r>
              <a:rPr lang="en-US" noProof="0"/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36050740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214CBAAF-84B5-48E1-AD5B-AACCCE07E03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32514" y="908051"/>
            <a:ext cx="5548730" cy="5545138"/>
          </a:xfrm>
          <a:prstGeom prst="roundRect">
            <a:avLst>
              <a:gd name="adj" fmla="val 2141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CFED9EB-9CEF-479C-B89F-816D273A282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5" y="908050"/>
            <a:ext cx="5072240" cy="5076825"/>
          </a:xfrm>
        </p:spPr>
        <p:txBody>
          <a:bodyPr lIns="0" rIns="0">
            <a:noAutofit/>
          </a:bodyPr>
          <a:lstStyle>
            <a:lvl1pPr marL="216000" indent="-216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accent1"/>
                </a:solidFill>
              </a:defRPr>
            </a:lvl4pPr>
            <a:lvl5pPr marL="918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3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4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E844B11-DA63-4ADC-B1C2-D354608B723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936" y="6057900"/>
            <a:ext cx="5072239" cy="395288"/>
          </a:xfrm>
        </p:spPr>
        <p:txBody>
          <a:bodyPr lIns="0" tIns="36000" rIns="0" bIns="36000" anchor="b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staw stopkę</a:t>
            </a: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127C9FF-0CAC-4C18-99EA-35F927594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95211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zema kolumna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99">
            <a:extLst>
              <a:ext uri="{FF2B5EF4-FFF2-40B4-BE49-F238E27FC236}">
                <a16:creationId xmlns:a16="http://schemas.microsoft.com/office/drawing/2014/main" id="{1DB78240-77B8-488E-9F8E-E9BF131BF597}"/>
              </a:ext>
            </a:extLst>
          </p:cNvPr>
          <p:cNvSpPr/>
          <p:nvPr userDrawn="1"/>
        </p:nvSpPr>
        <p:spPr>
          <a:xfrm>
            <a:off x="1460499" y="2323527"/>
            <a:ext cx="2727325" cy="412966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C606DC1A-A769-48BE-8FE7-1CFAA7EBD51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60499" y="2323526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EDABBE9-3498-44F6-89C6-5420055B092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4" y="910383"/>
            <a:ext cx="11157129" cy="856505"/>
          </a:xfrm>
          <a:prstGeom prst="roundRect">
            <a:avLst>
              <a:gd name="adj" fmla="val 9260"/>
            </a:avLst>
          </a:prstGeom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216000" indent="-216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FF17305-4F64-4A82-89F8-807382E618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4442" y="3730893"/>
            <a:ext cx="2499438" cy="131894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C9DABEEB-4179-4F62-9A05-52445C24418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574443" y="5121275"/>
            <a:ext cx="2499436" cy="125364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bject 299">
            <a:extLst>
              <a:ext uri="{FF2B5EF4-FFF2-40B4-BE49-F238E27FC236}">
                <a16:creationId xmlns:a16="http://schemas.microsoft.com/office/drawing/2014/main" id="{C4859652-3F25-4CDB-857E-F4E823DE4231}"/>
              </a:ext>
            </a:extLst>
          </p:cNvPr>
          <p:cNvSpPr/>
          <p:nvPr userDrawn="1"/>
        </p:nvSpPr>
        <p:spPr>
          <a:xfrm>
            <a:off x="4727575" y="2325115"/>
            <a:ext cx="2727325" cy="412966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437E37-3FDD-4EF4-A6A5-B118F729BF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27575" y="2325114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69DD515C-CAB3-4589-889D-E43FBFB0582E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841518" y="3732481"/>
            <a:ext cx="2499438" cy="131894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Content Placeholder 3">
            <a:extLst>
              <a:ext uri="{FF2B5EF4-FFF2-40B4-BE49-F238E27FC236}">
                <a16:creationId xmlns:a16="http://schemas.microsoft.com/office/drawing/2014/main" id="{CBF580B3-BDD8-487E-8A34-E7679A97DB4C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841519" y="5122863"/>
            <a:ext cx="2499436" cy="125364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object 299">
            <a:extLst>
              <a:ext uri="{FF2B5EF4-FFF2-40B4-BE49-F238E27FC236}">
                <a16:creationId xmlns:a16="http://schemas.microsoft.com/office/drawing/2014/main" id="{4A957D4B-7D6A-4B46-9468-D605AF66ABE1}"/>
              </a:ext>
            </a:extLst>
          </p:cNvPr>
          <p:cNvSpPr/>
          <p:nvPr userDrawn="1"/>
        </p:nvSpPr>
        <p:spPr>
          <a:xfrm>
            <a:off x="8004176" y="2323527"/>
            <a:ext cx="2727325" cy="412966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67" name="Picture Placeholder 3">
            <a:extLst>
              <a:ext uri="{FF2B5EF4-FFF2-40B4-BE49-F238E27FC236}">
                <a16:creationId xmlns:a16="http://schemas.microsoft.com/office/drawing/2014/main" id="{83CD2374-F37A-453A-BF60-9277B32B43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04176" y="2323526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CA7E742F-DFD7-468F-B439-62D3D10E3CFB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118119" y="3730893"/>
            <a:ext cx="2499438" cy="131894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Content Placeholder 3">
            <a:extLst>
              <a:ext uri="{FF2B5EF4-FFF2-40B4-BE49-F238E27FC236}">
                <a16:creationId xmlns:a16="http://schemas.microsoft.com/office/drawing/2014/main" id="{C4D0B7A7-762E-434D-BFCC-F39D5D4425AD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118120" y="5121275"/>
            <a:ext cx="2499436" cy="125364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EEC7EE06-FFEB-40E7-B2A8-4C88EBE811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79895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zema kolumnam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99">
            <a:extLst>
              <a:ext uri="{FF2B5EF4-FFF2-40B4-BE49-F238E27FC236}">
                <a16:creationId xmlns:a16="http://schemas.microsoft.com/office/drawing/2014/main" id="{1DB78240-77B8-488E-9F8E-E9BF131BF597}"/>
              </a:ext>
            </a:extLst>
          </p:cNvPr>
          <p:cNvSpPr/>
          <p:nvPr userDrawn="1"/>
        </p:nvSpPr>
        <p:spPr>
          <a:xfrm>
            <a:off x="1460499" y="1383253"/>
            <a:ext cx="2727325" cy="460162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C606DC1A-A769-48BE-8FE7-1CFAA7EBD51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60499" y="1383252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FF17305-4F64-4A82-89F8-807382E618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4442" y="2781301"/>
            <a:ext cx="2499438" cy="1552546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C9DABEEB-4179-4F62-9A05-52445C24418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574443" y="4405283"/>
            <a:ext cx="2499436" cy="140858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bject 299">
            <a:extLst>
              <a:ext uri="{FF2B5EF4-FFF2-40B4-BE49-F238E27FC236}">
                <a16:creationId xmlns:a16="http://schemas.microsoft.com/office/drawing/2014/main" id="{C4859652-3F25-4CDB-857E-F4E823DE4231}"/>
              </a:ext>
            </a:extLst>
          </p:cNvPr>
          <p:cNvSpPr/>
          <p:nvPr userDrawn="1"/>
        </p:nvSpPr>
        <p:spPr>
          <a:xfrm>
            <a:off x="4727575" y="1384841"/>
            <a:ext cx="2727325" cy="460162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437E37-3FDD-4EF4-A6A5-B118F729BF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27575" y="1384840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69DD515C-CAB3-4589-889D-E43FBFB0582E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841518" y="2782889"/>
            <a:ext cx="2499438" cy="1552546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Content Placeholder 3">
            <a:extLst>
              <a:ext uri="{FF2B5EF4-FFF2-40B4-BE49-F238E27FC236}">
                <a16:creationId xmlns:a16="http://schemas.microsoft.com/office/drawing/2014/main" id="{CBF580B3-BDD8-487E-8A34-E7679A97DB4C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841519" y="4406871"/>
            <a:ext cx="2499436" cy="140858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object 299">
            <a:extLst>
              <a:ext uri="{FF2B5EF4-FFF2-40B4-BE49-F238E27FC236}">
                <a16:creationId xmlns:a16="http://schemas.microsoft.com/office/drawing/2014/main" id="{4A957D4B-7D6A-4B46-9468-D605AF66ABE1}"/>
              </a:ext>
            </a:extLst>
          </p:cNvPr>
          <p:cNvSpPr/>
          <p:nvPr userDrawn="1"/>
        </p:nvSpPr>
        <p:spPr>
          <a:xfrm>
            <a:off x="8004176" y="1383253"/>
            <a:ext cx="2727325" cy="460162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67" name="Picture Placeholder 3">
            <a:extLst>
              <a:ext uri="{FF2B5EF4-FFF2-40B4-BE49-F238E27FC236}">
                <a16:creationId xmlns:a16="http://schemas.microsoft.com/office/drawing/2014/main" id="{83CD2374-F37A-453A-BF60-9277B32B43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04176" y="1383252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CA7E742F-DFD7-468F-B439-62D3D10E3CFB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118119" y="2781301"/>
            <a:ext cx="2499438" cy="1552546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Content Placeholder 3">
            <a:extLst>
              <a:ext uri="{FF2B5EF4-FFF2-40B4-BE49-F238E27FC236}">
                <a16:creationId xmlns:a16="http://schemas.microsoft.com/office/drawing/2014/main" id="{C4D0B7A7-762E-434D-BFCC-F39D5D4425AD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118120" y="4405283"/>
            <a:ext cx="2499436" cy="140858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09EC418A-5967-466B-B7DF-C6AF30C939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22782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i tabel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299">
            <a:extLst>
              <a:ext uri="{FF2B5EF4-FFF2-40B4-BE49-F238E27FC236}">
                <a16:creationId xmlns:a16="http://schemas.microsoft.com/office/drawing/2014/main" id="{54FCE9E5-8A99-42A4-9FF4-5ACC7E222D90}"/>
              </a:ext>
            </a:extLst>
          </p:cNvPr>
          <p:cNvSpPr/>
          <p:nvPr userDrawn="1"/>
        </p:nvSpPr>
        <p:spPr>
          <a:xfrm>
            <a:off x="515937" y="1844676"/>
            <a:ext cx="3671887" cy="4614594"/>
          </a:xfrm>
          <a:prstGeom prst="roundRect">
            <a:avLst>
              <a:gd name="adj" fmla="val 1765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Wprowadź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EDABBE9-3498-44F6-89C6-5420055B092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4" y="910383"/>
            <a:ext cx="11157129" cy="856505"/>
          </a:xfrm>
          <a:prstGeom prst="roundRect">
            <a:avLst>
              <a:gd name="adj" fmla="val 9260"/>
            </a:avLst>
          </a:prstGeom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216000" indent="-216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1E2B0F4D-507D-4C1A-BEF4-41FA5EDC8E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259263" y="1844676"/>
            <a:ext cx="6950075" cy="2736850"/>
          </a:xfrm>
          <a:prstGeom prst="roundRect">
            <a:avLst>
              <a:gd name="adj" fmla="val 2141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en-GB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  <a:endParaRPr lang="en-GB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D7A0508A-3C91-4C46-9E3F-B9584B483658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83851" y="1995835"/>
            <a:ext cx="3336058" cy="4312276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16000" indent="-216000" algn="l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 algn="l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 algn="l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19" name="Text Placeholder 47">
            <a:extLst>
              <a:ext uri="{FF2B5EF4-FFF2-40B4-BE49-F238E27FC236}">
                <a16:creationId xmlns:a16="http://schemas.microsoft.com/office/drawing/2014/main" id="{1A65B5AE-E0C7-4B6D-B4E3-0DA2BF418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27575" y="3716338"/>
            <a:ext cx="6948487" cy="2736849"/>
          </a:xfrm>
          <a:prstGeom prst="roundRect">
            <a:avLst>
              <a:gd name="adj" fmla="val 2224"/>
            </a:avLst>
          </a:prstGeom>
          <a:solidFill>
            <a:schemeClr val="bg1"/>
          </a:solidFill>
          <a:effectLst>
            <a:outerShdw blurRad="3048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00D29B71-70A9-492F-B997-B66461B97764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4725988" y="3716338"/>
            <a:ext cx="6950075" cy="2736850"/>
          </a:xfrm>
          <a:prstGeom prst="roundRect">
            <a:avLst>
              <a:gd name="adj" fmla="val 2451"/>
            </a:avLst>
          </a:prstGeom>
          <a:noFill/>
          <a:effectLst/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en-GB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tabelę</a:t>
            </a:r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4486508-4D0A-47EB-BF67-F89024F03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45082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wykre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299">
            <a:extLst>
              <a:ext uri="{FF2B5EF4-FFF2-40B4-BE49-F238E27FC236}">
                <a16:creationId xmlns:a16="http://schemas.microsoft.com/office/drawing/2014/main" id="{E822FCE5-67C7-45A4-B632-162128B1736A}"/>
              </a:ext>
            </a:extLst>
          </p:cNvPr>
          <p:cNvSpPr/>
          <p:nvPr userDrawn="1"/>
        </p:nvSpPr>
        <p:spPr>
          <a:xfrm>
            <a:off x="518935" y="908050"/>
            <a:ext cx="11160126" cy="393768"/>
          </a:xfrm>
          <a:prstGeom prst="roundRect">
            <a:avLst>
              <a:gd name="adj" fmla="val 1446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 fontScale="85000" lnSpcReduction="20000"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23" name="object 299">
            <a:extLst>
              <a:ext uri="{FF2B5EF4-FFF2-40B4-BE49-F238E27FC236}">
                <a16:creationId xmlns:a16="http://schemas.microsoft.com/office/drawing/2014/main" id="{54FCE9E5-8A99-42A4-9FF4-5ACC7E222D90}"/>
              </a:ext>
            </a:extLst>
          </p:cNvPr>
          <p:cNvSpPr/>
          <p:nvPr userDrawn="1"/>
        </p:nvSpPr>
        <p:spPr>
          <a:xfrm>
            <a:off x="515937" y="1376365"/>
            <a:ext cx="11160126" cy="5082905"/>
          </a:xfrm>
          <a:prstGeom prst="roundRect">
            <a:avLst>
              <a:gd name="adj" fmla="val 1390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6FD38201-F2C9-406F-BF68-01989DB8937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450976" y="1844675"/>
            <a:ext cx="9290050" cy="4140200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D6ECF79-5126-475E-AE7D-9E9417C7998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0959" y="919757"/>
            <a:ext cx="10890082" cy="37035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BB6516E-73C8-4752-B0AC-DF27403B06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20526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dwoma wykresa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299">
            <a:extLst>
              <a:ext uri="{FF2B5EF4-FFF2-40B4-BE49-F238E27FC236}">
                <a16:creationId xmlns:a16="http://schemas.microsoft.com/office/drawing/2014/main" id="{E822FCE5-67C7-45A4-B632-162128B1736A}"/>
              </a:ext>
            </a:extLst>
          </p:cNvPr>
          <p:cNvSpPr/>
          <p:nvPr userDrawn="1"/>
        </p:nvSpPr>
        <p:spPr>
          <a:xfrm>
            <a:off x="518935" y="1379547"/>
            <a:ext cx="11160126" cy="393768"/>
          </a:xfrm>
          <a:prstGeom prst="roundRect">
            <a:avLst>
              <a:gd name="adj" fmla="val 1446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 fontScale="85000" lnSpcReduction="20000"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D6ECF79-5126-475E-AE7D-9E9417C7998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0959" y="1391254"/>
            <a:ext cx="10890082" cy="37035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0" name="object 299">
            <a:extLst>
              <a:ext uri="{FF2B5EF4-FFF2-40B4-BE49-F238E27FC236}">
                <a16:creationId xmlns:a16="http://schemas.microsoft.com/office/drawing/2014/main" id="{85FFA50F-55DF-4399-9D18-9AA7A2D7760A}"/>
              </a:ext>
            </a:extLst>
          </p:cNvPr>
          <p:cNvSpPr/>
          <p:nvPr userDrawn="1"/>
        </p:nvSpPr>
        <p:spPr>
          <a:xfrm>
            <a:off x="515938" y="1848184"/>
            <a:ext cx="11160126" cy="2274620"/>
          </a:xfrm>
          <a:prstGeom prst="roundRect">
            <a:avLst>
              <a:gd name="adj" fmla="val 29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A7E2789C-2493-4DE6-A1C1-CCD4BFADA6CD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324225" y="2316496"/>
            <a:ext cx="7885113" cy="1331912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3125072-8EE2-442B-81D1-4AB4EC89FCF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82664" y="2945180"/>
            <a:ext cx="1800226" cy="370355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r>
              <a:rPr lang="en-US"/>
              <a:t> </a:t>
            </a:r>
            <a:r>
              <a:rPr lang="en-US" err="1"/>
              <a:t>wykresu</a:t>
            </a:r>
            <a:endParaRPr lang="en-US"/>
          </a:p>
        </p:txBody>
      </p:sp>
      <p:sp>
        <p:nvSpPr>
          <p:cNvPr id="23" name="object 299">
            <a:extLst>
              <a:ext uri="{FF2B5EF4-FFF2-40B4-BE49-F238E27FC236}">
                <a16:creationId xmlns:a16="http://schemas.microsoft.com/office/drawing/2014/main" id="{54FCE9E5-8A99-42A4-9FF4-5ACC7E222D90}"/>
              </a:ext>
            </a:extLst>
          </p:cNvPr>
          <p:cNvSpPr/>
          <p:nvPr userDrawn="1"/>
        </p:nvSpPr>
        <p:spPr>
          <a:xfrm>
            <a:off x="515937" y="4184651"/>
            <a:ext cx="11160126" cy="2274620"/>
          </a:xfrm>
          <a:prstGeom prst="roundRect">
            <a:avLst>
              <a:gd name="adj" fmla="val 29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6FD38201-F2C9-406F-BF68-01989DB8937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324224" y="4652963"/>
            <a:ext cx="7885113" cy="1331912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1D6AE56-B51B-4354-ADE9-0A5717CB03A5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663" y="5281647"/>
            <a:ext cx="1800226" cy="370355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r>
              <a:rPr lang="en-US"/>
              <a:t> </a:t>
            </a:r>
            <a:r>
              <a:rPr lang="en-US" err="1"/>
              <a:t>wykresu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32BD811-2918-4F61-9AFC-B3B083D33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13949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dwoma wykresam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299">
            <a:extLst>
              <a:ext uri="{FF2B5EF4-FFF2-40B4-BE49-F238E27FC236}">
                <a16:creationId xmlns:a16="http://schemas.microsoft.com/office/drawing/2014/main" id="{A37BDAD5-064F-40AF-B88A-464BF0E58738}"/>
              </a:ext>
            </a:extLst>
          </p:cNvPr>
          <p:cNvSpPr/>
          <p:nvPr userDrawn="1"/>
        </p:nvSpPr>
        <p:spPr>
          <a:xfrm>
            <a:off x="514350" y="908050"/>
            <a:ext cx="2268538" cy="1800225"/>
          </a:xfrm>
          <a:prstGeom prst="roundRect">
            <a:avLst>
              <a:gd name="adj" fmla="val 3093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38" name="object 299">
            <a:extLst>
              <a:ext uri="{FF2B5EF4-FFF2-40B4-BE49-F238E27FC236}">
                <a16:creationId xmlns:a16="http://schemas.microsoft.com/office/drawing/2014/main" id="{7BD1B61A-D58C-49B5-8D57-047455254516}"/>
              </a:ext>
            </a:extLst>
          </p:cNvPr>
          <p:cNvSpPr/>
          <p:nvPr userDrawn="1"/>
        </p:nvSpPr>
        <p:spPr>
          <a:xfrm>
            <a:off x="2861470" y="908050"/>
            <a:ext cx="2268538" cy="1800225"/>
          </a:xfrm>
          <a:prstGeom prst="roundRect">
            <a:avLst>
              <a:gd name="adj" fmla="val 3093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27" name="object 299">
            <a:extLst>
              <a:ext uri="{FF2B5EF4-FFF2-40B4-BE49-F238E27FC236}">
                <a16:creationId xmlns:a16="http://schemas.microsoft.com/office/drawing/2014/main" id="{A5FF034B-9005-47EB-BA82-66465C4F2112}"/>
              </a:ext>
            </a:extLst>
          </p:cNvPr>
          <p:cNvSpPr/>
          <p:nvPr userDrawn="1"/>
        </p:nvSpPr>
        <p:spPr>
          <a:xfrm>
            <a:off x="5195888" y="908050"/>
            <a:ext cx="6480176" cy="1800225"/>
          </a:xfrm>
          <a:prstGeom prst="roundRect">
            <a:avLst>
              <a:gd name="adj" fmla="val 29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30" name="object 299">
            <a:extLst>
              <a:ext uri="{FF2B5EF4-FFF2-40B4-BE49-F238E27FC236}">
                <a16:creationId xmlns:a16="http://schemas.microsoft.com/office/drawing/2014/main" id="{5C9E4300-9A95-4C17-B86E-D2721C997FE0}"/>
              </a:ext>
            </a:extLst>
          </p:cNvPr>
          <p:cNvSpPr/>
          <p:nvPr userDrawn="1"/>
        </p:nvSpPr>
        <p:spPr>
          <a:xfrm>
            <a:off x="515937" y="2781300"/>
            <a:ext cx="5543551" cy="3203575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32" name="Chart Placeholder 3">
            <a:extLst>
              <a:ext uri="{FF2B5EF4-FFF2-40B4-BE49-F238E27FC236}">
                <a16:creationId xmlns:a16="http://schemas.microsoft.com/office/drawing/2014/main" id="{081791D1-C171-484B-B967-D9FEF829542F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776287" y="3496225"/>
            <a:ext cx="5022850" cy="2294476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B9E15331-7B72-4588-9E11-96A097873506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76287" y="2991421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0" name="object 299">
            <a:extLst>
              <a:ext uri="{FF2B5EF4-FFF2-40B4-BE49-F238E27FC236}">
                <a16:creationId xmlns:a16="http://schemas.microsoft.com/office/drawing/2014/main" id="{85FFA50F-55DF-4399-9D18-9AA7A2D7760A}"/>
              </a:ext>
            </a:extLst>
          </p:cNvPr>
          <p:cNvSpPr/>
          <p:nvPr userDrawn="1"/>
        </p:nvSpPr>
        <p:spPr>
          <a:xfrm>
            <a:off x="6132512" y="2781300"/>
            <a:ext cx="5543551" cy="3203575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A7E2789C-2493-4DE6-A1C1-CCD4BFADA6CD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392862" y="3496225"/>
            <a:ext cx="5022850" cy="2294476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3125072-8EE2-442B-81D1-4AB4EC89FCF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92862" y="2991421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Chart Placeholder 3">
            <a:extLst>
              <a:ext uri="{FF2B5EF4-FFF2-40B4-BE49-F238E27FC236}">
                <a16:creationId xmlns:a16="http://schemas.microsoft.com/office/drawing/2014/main" id="{1D8A5140-B80E-41E5-964B-C9629A88C871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5456241" y="1596746"/>
            <a:ext cx="5959472" cy="924571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2DA05BE-1BA0-4E81-8757-CBC19A513BA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90578" y="1622985"/>
            <a:ext cx="1916083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ekst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7316233-F1D2-451E-96DD-04A67545238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037698" y="1622985"/>
            <a:ext cx="1916083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6FF1980B-3D87-4AD9-B044-1F45DDB06D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5938" y="6059488"/>
            <a:ext cx="2735262" cy="395288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/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en-US" sz="1400" b="1" noProof="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 noProof="0"/>
              <a:t>Wprowadź tekst</a:t>
            </a:r>
            <a:endParaRPr lang="en-US" noProof="0"/>
          </a:p>
        </p:txBody>
      </p:sp>
      <p:sp>
        <p:nvSpPr>
          <p:cNvPr id="44" name="Text Placeholder 47">
            <a:extLst>
              <a:ext uri="{FF2B5EF4-FFF2-40B4-BE49-F238E27FC236}">
                <a16:creationId xmlns:a16="http://schemas.microsoft.com/office/drawing/2014/main" id="{DB331F1C-0529-47E9-8F74-C51322DB4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225" y="6059488"/>
            <a:ext cx="2735262" cy="395288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/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en-US" sz="1400" b="1" noProof="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 noProof="0"/>
              <a:t>Wprowadź tekst</a:t>
            </a:r>
            <a:endParaRPr lang="en-US" noProof="0"/>
          </a:p>
        </p:txBody>
      </p:sp>
      <p:sp>
        <p:nvSpPr>
          <p:cNvPr id="47" name="Text Placeholder 47">
            <a:extLst>
              <a:ext uri="{FF2B5EF4-FFF2-40B4-BE49-F238E27FC236}">
                <a16:creationId xmlns:a16="http://schemas.microsoft.com/office/drawing/2014/main" id="{7A875088-7DD7-4DB6-97BF-F91DAE10D1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32513" y="6059488"/>
            <a:ext cx="2735262" cy="395288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/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en-US" sz="1400" b="1" noProof="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 noProof="0"/>
              <a:t>Wprowadź tekst</a:t>
            </a:r>
            <a:endParaRPr lang="en-US" noProof="0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08FFCBF5-79D9-4F64-87CF-0D3797759B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40800" y="6059488"/>
            <a:ext cx="2735262" cy="395288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/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en-US" sz="1400" b="1" noProof="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 noProof="0"/>
              <a:t>Wprowadź tekst</a:t>
            </a:r>
            <a:endParaRPr lang="en-US" noProof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F4A3F1FF-3A3D-49F9-90CA-E0A06190211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5456240" y="1091942"/>
            <a:ext cx="5959471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D30C8F5C-3EED-4794-A271-5A4206B12A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5991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czterema wykresa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bject 299">
            <a:extLst>
              <a:ext uri="{FF2B5EF4-FFF2-40B4-BE49-F238E27FC236}">
                <a16:creationId xmlns:a16="http://schemas.microsoft.com/office/drawing/2014/main" id="{BAB767D8-D719-40F1-BDD1-5C9FAC0EDAD5}"/>
              </a:ext>
            </a:extLst>
          </p:cNvPr>
          <p:cNvSpPr/>
          <p:nvPr userDrawn="1"/>
        </p:nvSpPr>
        <p:spPr>
          <a:xfrm>
            <a:off x="515937" y="909265"/>
            <a:ext cx="5543551" cy="2739053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52" name="Chart Placeholder 3">
            <a:extLst>
              <a:ext uri="{FF2B5EF4-FFF2-40B4-BE49-F238E27FC236}">
                <a16:creationId xmlns:a16="http://schemas.microsoft.com/office/drawing/2014/main" id="{F96AAF4F-E421-498A-8EFB-E56B9160D0D9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776287" y="1555908"/>
            <a:ext cx="5022850" cy="1915898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2E2D4C7-D438-4EF8-99F3-5CE7103453F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76287" y="1051104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54" name="object 299">
            <a:extLst>
              <a:ext uri="{FF2B5EF4-FFF2-40B4-BE49-F238E27FC236}">
                <a16:creationId xmlns:a16="http://schemas.microsoft.com/office/drawing/2014/main" id="{56E1226E-CEB8-48BB-8436-C94AE4C02934}"/>
              </a:ext>
            </a:extLst>
          </p:cNvPr>
          <p:cNvSpPr/>
          <p:nvPr userDrawn="1"/>
        </p:nvSpPr>
        <p:spPr>
          <a:xfrm>
            <a:off x="6132512" y="909265"/>
            <a:ext cx="5543551" cy="2739053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55" name="Chart Placeholder 3">
            <a:extLst>
              <a:ext uri="{FF2B5EF4-FFF2-40B4-BE49-F238E27FC236}">
                <a16:creationId xmlns:a16="http://schemas.microsoft.com/office/drawing/2014/main" id="{DAC0ADE8-D503-4108-9F80-583B50FB4C57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392862" y="1555908"/>
            <a:ext cx="5022850" cy="1915898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436EDB1-7FCA-4DAF-947B-2F032CE5D4E0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92862" y="1051104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0" name="object 299">
            <a:extLst>
              <a:ext uri="{FF2B5EF4-FFF2-40B4-BE49-F238E27FC236}">
                <a16:creationId xmlns:a16="http://schemas.microsoft.com/office/drawing/2014/main" id="{5C9E4300-9A95-4C17-B86E-D2721C997FE0}"/>
              </a:ext>
            </a:extLst>
          </p:cNvPr>
          <p:cNvSpPr/>
          <p:nvPr userDrawn="1"/>
        </p:nvSpPr>
        <p:spPr>
          <a:xfrm>
            <a:off x="515937" y="3716339"/>
            <a:ext cx="5543551" cy="2739053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32" name="Chart Placeholder 3">
            <a:extLst>
              <a:ext uri="{FF2B5EF4-FFF2-40B4-BE49-F238E27FC236}">
                <a16:creationId xmlns:a16="http://schemas.microsoft.com/office/drawing/2014/main" id="{081791D1-C171-484B-B967-D9FEF829542F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776287" y="4362982"/>
            <a:ext cx="5022850" cy="1915898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B9E15331-7B72-4588-9E11-96A097873506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76287" y="3858178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0" name="object 299">
            <a:extLst>
              <a:ext uri="{FF2B5EF4-FFF2-40B4-BE49-F238E27FC236}">
                <a16:creationId xmlns:a16="http://schemas.microsoft.com/office/drawing/2014/main" id="{85FFA50F-55DF-4399-9D18-9AA7A2D7760A}"/>
              </a:ext>
            </a:extLst>
          </p:cNvPr>
          <p:cNvSpPr/>
          <p:nvPr userDrawn="1"/>
        </p:nvSpPr>
        <p:spPr>
          <a:xfrm>
            <a:off x="6132512" y="3716339"/>
            <a:ext cx="5543551" cy="2739053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A7E2789C-2493-4DE6-A1C1-CCD4BFADA6CD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392862" y="4362982"/>
            <a:ext cx="5022850" cy="1915898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3125072-8EE2-442B-81D1-4AB4EC89FCF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92862" y="3858178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96DC89F-68FD-42CE-8ABE-AED0685F36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63743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czterema zdjęcia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017C4D4E-67A1-4F30-AE03-744F8D94CBA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15937" y="909266"/>
            <a:ext cx="5543551" cy="2739053"/>
          </a:xfrm>
          <a:custGeom>
            <a:avLst/>
            <a:gdLst>
              <a:gd name="connsiteX0" fmla="*/ 55466 w 5543551"/>
              <a:gd name="connsiteY0" fmla="*/ 0 h 2739053"/>
              <a:gd name="connsiteX1" fmla="*/ 5488085 w 5543551"/>
              <a:gd name="connsiteY1" fmla="*/ 0 h 2739053"/>
              <a:gd name="connsiteX2" fmla="*/ 5543551 w 5543551"/>
              <a:gd name="connsiteY2" fmla="*/ 55466 h 2739053"/>
              <a:gd name="connsiteX3" fmla="*/ 5543551 w 5543551"/>
              <a:gd name="connsiteY3" fmla="*/ 2683587 h 2739053"/>
              <a:gd name="connsiteX4" fmla="*/ 5488085 w 5543551"/>
              <a:gd name="connsiteY4" fmla="*/ 2739053 h 2739053"/>
              <a:gd name="connsiteX5" fmla="*/ 55466 w 5543551"/>
              <a:gd name="connsiteY5" fmla="*/ 2739053 h 2739053"/>
              <a:gd name="connsiteX6" fmla="*/ 0 w 5543551"/>
              <a:gd name="connsiteY6" fmla="*/ 2683587 h 2739053"/>
              <a:gd name="connsiteX7" fmla="*/ 0 w 5543551"/>
              <a:gd name="connsiteY7" fmla="*/ 55466 h 2739053"/>
              <a:gd name="connsiteX8" fmla="*/ 55466 w 5543551"/>
              <a:gd name="connsiteY8" fmla="*/ 0 h 2739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2739053">
                <a:moveTo>
                  <a:pt x="55466" y="0"/>
                </a:moveTo>
                <a:lnTo>
                  <a:pt x="5488085" y="0"/>
                </a:lnTo>
                <a:cubicBezTo>
                  <a:pt x="5518718" y="0"/>
                  <a:pt x="5543551" y="24833"/>
                  <a:pt x="5543551" y="55466"/>
                </a:cubicBezTo>
                <a:lnTo>
                  <a:pt x="5543551" y="2683587"/>
                </a:lnTo>
                <a:cubicBezTo>
                  <a:pt x="5543551" y="2714220"/>
                  <a:pt x="5518718" y="2739053"/>
                  <a:pt x="5488085" y="2739053"/>
                </a:cubicBezTo>
                <a:lnTo>
                  <a:pt x="55466" y="2739053"/>
                </a:lnTo>
                <a:cubicBezTo>
                  <a:pt x="24833" y="2739053"/>
                  <a:pt x="0" y="2714220"/>
                  <a:pt x="0" y="2683587"/>
                </a:cubicBezTo>
                <a:lnTo>
                  <a:pt x="0" y="55466"/>
                </a:lnTo>
                <a:cubicBezTo>
                  <a:pt x="0" y="24833"/>
                  <a:pt x="24833" y="0"/>
                  <a:pt x="55466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pl-PL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</a:p>
        </p:txBody>
      </p:sp>
      <p:sp>
        <p:nvSpPr>
          <p:cNvPr id="25" name="Text Placeholder 47">
            <a:extLst>
              <a:ext uri="{FF2B5EF4-FFF2-40B4-BE49-F238E27FC236}">
                <a16:creationId xmlns:a16="http://schemas.microsoft.com/office/drawing/2014/main" id="{D0CFEF48-07D6-43F7-87F3-3879962F9A3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5937" y="3260904"/>
            <a:ext cx="5543551" cy="387414"/>
          </a:xfrm>
          <a:prstGeom prst="roundRect">
            <a:avLst>
              <a:gd name="adj" fmla="val 12569"/>
            </a:avLst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2E2D4C7-D438-4EF8-99F3-5CE7103453F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15936" y="3269434"/>
            <a:ext cx="5543552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79FF6EBB-5922-46C4-A7CE-ED0EB114C265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132512" y="908050"/>
            <a:ext cx="5543551" cy="2739053"/>
          </a:xfrm>
          <a:custGeom>
            <a:avLst/>
            <a:gdLst>
              <a:gd name="connsiteX0" fmla="*/ 55466 w 5543551"/>
              <a:gd name="connsiteY0" fmla="*/ 0 h 2739053"/>
              <a:gd name="connsiteX1" fmla="*/ 5488085 w 5543551"/>
              <a:gd name="connsiteY1" fmla="*/ 0 h 2739053"/>
              <a:gd name="connsiteX2" fmla="*/ 5543551 w 5543551"/>
              <a:gd name="connsiteY2" fmla="*/ 55466 h 2739053"/>
              <a:gd name="connsiteX3" fmla="*/ 5543551 w 5543551"/>
              <a:gd name="connsiteY3" fmla="*/ 2683587 h 2739053"/>
              <a:gd name="connsiteX4" fmla="*/ 5488085 w 5543551"/>
              <a:gd name="connsiteY4" fmla="*/ 2739053 h 2739053"/>
              <a:gd name="connsiteX5" fmla="*/ 55466 w 5543551"/>
              <a:gd name="connsiteY5" fmla="*/ 2739053 h 2739053"/>
              <a:gd name="connsiteX6" fmla="*/ 0 w 5543551"/>
              <a:gd name="connsiteY6" fmla="*/ 2683587 h 2739053"/>
              <a:gd name="connsiteX7" fmla="*/ 0 w 5543551"/>
              <a:gd name="connsiteY7" fmla="*/ 55466 h 2739053"/>
              <a:gd name="connsiteX8" fmla="*/ 55466 w 5543551"/>
              <a:gd name="connsiteY8" fmla="*/ 0 h 2739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2739053">
                <a:moveTo>
                  <a:pt x="55466" y="0"/>
                </a:moveTo>
                <a:lnTo>
                  <a:pt x="5488085" y="0"/>
                </a:lnTo>
                <a:cubicBezTo>
                  <a:pt x="5518718" y="0"/>
                  <a:pt x="5543551" y="24833"/>
                  <a:pt x="5543551" y="55466"/>
                </a:cubicBezTo>
                <a:lnTo>
                  <a:pt x="5543551" y="2683587"/>
                </a:lnTo>
                <a:cubicBezTo>
                  <a:pt x="5543551" y="2714220"/>
                  <a:pt x="5518718" y="2739053"/>
                  <a:pt x="5488085" y="2739053"/>
                </a:cubicBezTo>
                <a:lnTo>
                  <a:pt x="55466" y="2739053"/>
                </a:lnTo>
                <a:cubicBezTo>
                  <a:pt x="24833" y="2739053"/>
                  <a:pt x="0" y="2714220"/>
                  <a:pt x="0" y="2683587"/>
                </a:cubicBezTo>
                <a:lnTo>
                  <a:pt x="0" y="55466"/>
                </a:lnTo>
                <a:cubicBezTo>
                  <a:pt x="0" y="24833"/>
                  <a:pt x="24833" y="0"/>
                  <a:pt x="55466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pl-PL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</a:p>
        </p:txBody>
      </p:sp>
      <p:sp>
        <p:nvSpPr>
          <p:cNvPr id="27" name="Text Placeholder 47">
            <a:extLst>
              <a:ext uri="{FF2B5EF4-FFF2-40B4-BE49-F238E27FC236}">
                <a16:creationId xmlns:a16="http://schemas.microsoft.com/office/drawing/2014/main" id="{28DCE3CD-714A-4CA5-A68C-083CDEEC19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32512" y="3259688"/>
            <a:ext cx="5543551" cy="387414"/>
          </a:xfrm>
          <a:prstGeom prst="roundRect">
            <a:avLst>
              <a:gd name="adj" fmla="val 12569"/>
            </a:avLst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6899828-9CC8-4902-96D7-5E5F6B74370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132511" y="3268218"/>
            <a:ext cx="5543552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ACE04B4E-F642-49F1-877B-A64AC8CBD5F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5936" y="3717605"/>
            <a:ext cx="5543551" cy="2739053"/>
          </a:xfrm>
          <a:custGeom>
            <a:avLst/>
            <a:gdLst>
              <a:gd name="connsiteX0" fmla="*/ 55466 w 5543551"/>
              <a:gd name="connsiteY0" fmla="*/ 0 h 2739053"/>
              <a:gd name="connsiteX1" fmla="*/ 5488085 w 5543551"/>
              <a:gd name="connsiteY1" fmla="*/ 0 h 2739053"/>
              <a:gd name="connsiteX2" fmla="*/ 5543551 w 5543551"/>
              <a:gd name="connsiteY2" fmla="*/ 55466 h 2739053"/>
              <a:gd name="connsiteX3" fmla="*/ 5543551 w 5543551"/>
              <a:gd name="connsiteY3" fmla="*/ 2683587 h 2739053"/>
              <a:gd name="connsiteX4" fmla="*/ 5488085 w 5543551"/>
              <a:gd name="connsiteY4" fmla="*/ 2739053 h 2739053"/>
              <a:gd name="connsiteX5" fmla="*/ 55466 w 5543551"/>
              <a:gd name="connsiteY5" fmla="*/ 2739053 h 2739053"/>
              <a:gd name="connsiteX6" fmla="*/ 0 w 5543551"/>
              <a:gd name="connsiteY6" fmla="*/ 2683587 h 2739053"/>
              <a:gd name="connsiteX7" fmla="*/ 0 w 5543551"/>
              <a:gd name="connsiteY7" fmla="*/ 55466 h 2739053"/>
              <a:gd name="connsiteX8" fmla="*/ 55466 w 5543551"/>
              <a:gd name="connsiteY8" fmla="*/ 0 h 2739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2739053">
                <a:moveTo>
                  <a:pt x="55466" y="0"/>
                </a:moveTo>
                <a:lnTo>
                  <a:pt x="5488085" y="0"/>
                </a:lnTo>
                <a:cubicBezTo>
                  <a:pt x="5518718" y="0"/>
                  <a:pt x="5543551" y="24833"/>
                  <a:pt x="5543551" y="55466"/>
                </a:cubicBezTo>
                <a:lnTo>
                  <a:pt x="5543551" y="2683587"/>
                </a:lnTo>
                <a:cubicBezTo>
                  <a:pt x="5543551" y="2714220"/>
                  <a:pt x="5518718" y="2739053"/>
                  <a:pt x="5488085" y="2739053"/>
                </a:cubicBezTo>
                <a:lnTo>
                  <a:pt x="55466" y="2739053"/>
                </a:lnTo>
                <a:cubicBezTo>
                  <a:pt x="24833" y="2739053"/>
                  <a:pt x="0" y="2714220"/>
                  <a:pt x="0" y="2683587"/>
                </a:cubicBezTo>
                <a:lnTo>
                  <a:pt x="0" y="55466"/>
                </a:lnTo>
                <a:cubicBezTo>
                  <a:pt x="0" y="24833"/>
                  <a:pt x="24833" y="0"/>
                  <a:pt x="55466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pl-PL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</a:p>
        </p:txBody>
      </p:sp>
      <p:sp>
        <p:nvSpPr>
          <p:cNvPr id="35" name="Text Placeholder 47">
            <a:extLst>
              <a:ext uri="{FF2B5EF4-FFF2-40B4-BE49-F238E27FC236}">
                <a16:creationId xmlns:a16="http://schemas.microsoft.com/office/drawing/2014/main" id="{4524366A-7B8C-4A07-9D8C-5093782A0D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5936" y="6069243"/>
            <a:ext cx="5543551" cy="387414"/>
          </a:xfrm>
          <a:prstGeom prst="roundRect">
            <a:avLst>
              <a:gd name="adj" fmla="val 12569"/>
            </a:avLst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5F68A78-099B-4A99-A780-6866F7B53B19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515935" y="6077773"/>
            <a:ext cx="5543552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FB9684CE-A536-4C97-BAA4-3D3BCF385756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132511" y="3716389"/>
            <a:ext cx="5543551" cy="2739053"/>
          </a:xfrm>
          <a:custGeom>
            <a:avLst/>
            <a:gdLst>
              <a:gd name="connsiteX0" fmla="*/ 55466 w 5543551"/>
              <a:gd name="connsiteY0" fmla="*/ 0 h 2739053"/>
              <a:gd name="connsiteX1" fmla="*/ 5488085 w 5543551"/>
              <a:gd name="connsiteY1" fmla="*/ 0 h 2739053"/>
              <a:gd name="connsiteX2" fmla="*/ 5543551 w 5543551"/>
              <a:gd name="connsiteY2" fmla="*/ 55466 h 2739053"/>
              <a:gd name="connsiteX3" fmla="*/ 5543551 w 5543551"/>
              <a:gd name="connsiteY3" fmla="*/ 2683587 h 2739053"/>
              <a:gd name="connsiteX4" fmla="*/ 5488085 w 5543551"/>
              <a:gd name="connsiteY4" fmla="*/ 2739053 h 2739053"/>
              <a:gd name="connsiteX5" fmla="*/ 55466 w 5543551"/>
              <a:gd name="connsiteY5" fmla="*/ 2739053 h 2739053"/>
              <a:gd name="connsiteX6" fmla="*/ 0 w 5543551"/>
              <a:gd name="connsiteY6" fmla="*/ 2683587 h 2739053"/>
              <a:gd name="connsiteX7" fmla="*/ 0 w 5543551"/>
              <a:gd name="connsiteY7" fmla="*/ 55466 h 2739053"/>
              <a:gd name="connsiteX8" fmla="*/ 55466 w 5543551"/>
              <a:gd name="connsiteY8" fmla="*/ 0 h 2739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2739053">
                <a:moveTo>
                  <a:pt x="55466" y="0"/>
                </a:moveTo>
                <a:lnTo>
                  <a:pt x="5488085" y="0"/>
                </a:lnTo>
                <a:cubicBezTo>
                  <a:pt x="5518718" y="0"/>
                  <a:pt x="5543551" y="24833"/>
                  <a:pt x="5543551" y="55466"/>
                </a:cubicBezTo>
                <a:lnTo>
                  <a:pt x="5543551" y="2683587"/>
                </a:lnTo>
                <a:cubicBezTo>
                  <a:pt x="5543551" y="2714220"/>
                  <a:pt x="5518718" y="2739053"/>
                  <a:pt x="5488085" y="2739053"/>
                </a:cubicBezTo>
                <a:lnTo>
                  <a:pt x="55466" y="2739053"/>
                </a:lnTo>
                <a:cubicBezTo>
                  <a:pt x="24833" y="2739053"/>
                  <a:pt x="0" y="2714220"/>
                  <a:pt x="0" y="2683587"/>
                </a:cubicBezTo>
                <a:lnTo>
                  <a:pt x="0" y="55466"/>
                </a:lnTo>
                <a:cubicBezTo>
                  <a:pt x="0" y="24833"/>
                  <a:pt x="24833" y="0"/>
                  <a:pt x="55466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pl-PL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</a:p>
        </p:txBody>
      </p:sp>
      <p:sp>
        <p:nvSpPr>
          <p:cNvPr id="38" name="Text Placeholder 47">
            <a:extLst>
              <a:ext uri="{FF2B5EF4-FFF2-40B4-BE49-F238E27FC236}">
                <a16:creationId xmlns:a16="http://schemas.microsoft.com/office/drawing/2014/main" id="{3B3E6BBF-8A8A-41C1-A77D-7839945A87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2511" y="6068027"/>
            <a:ext cx="5543551" cy="387414"/>
          </a:xfrm>
          <a:prstGeom prst="roundRect">
            <a:avLst>
              <a:gd name="adj" fmla="val 12569"/>
            </a:avLst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BA26FDE-C074-445A-A4FD-3DA6F9132F19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6132510" y="6076557"/>
            <a:ext cx="5543552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F621FE4-1CB5-4A00-AEB5-BC0572559F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41766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bject 299">
            <a:extLst>
              <a:ext uri="{FF2B5EF4-FFF2-40B4-BE49-F238E27FC236}">
                <a16:creationId xmlns:a16="http://schemas.microsoft.com/office/drawing/2014/main" id="{1CC8C4A9-6718-4A1B-9D7D-902A86F0A9B9}"/>
              </a:ext>
            </a:extLst>
          </p:cNvPr>
          <p:cNvSpPr/>
          <p:nvPr userDrawn="1"/>
        </p:nvSpPr>
        <p:spPr>
          <a:xfrm>
            <a:off x="4268788" y="908050"/>
            <a:ext cx="1790700" cy="1800225"/>
          </a:xfrm>
          <a:prstGeom prst="roundRect">
            <a:avLst>
              <a:gd name="adj" fmla="val 30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51" name="object 299">
            <a:extLst>
              <a:ext uri="{FF2B5EF4-FFF2-40B4-BE49-F238E27FC236}">
                <a16:creationId xmlns:a16="http://schemas.microsoft.com/office/drawing/2014/main" id="{BAB767D8-D719-40F1-BDD1-5C9FAC0EDAD5}"/>
              </a:ext>
            </a:extLst>
          </p:cNvPr>
          <p:cNvSpPr/>
          <p:nvPr userDrawn="1"/>
        </p:nvSpPr>
        <p:spPr>
          <a:xfrm>
            <a:off x="515937" y="1844675"/>
            <a:ext cx="4140201" cy="3205163"/>
          </a:xfrm>
          <a:prstGeom prst="roundRect">
            <a:avLst>
              <a:gd name="adj" fmla="val 1802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2E2D4C7-D438-4EF8-99F3-5CE7103453F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76287" y="2060390"/>
            <a:ext cx="3574733" cy="370355"/>
          </a:xfrm>
        </p:spPr>
        <p:txBody>
          <a:bodyPr l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ek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02F4FA63-83A8-4AC1-AB3D-2550296746E7}"/>
              </a:ext>
            </a:extLst>
          </p:cNvPr>
          <p:cNvSpPr>
            <a:spLocks noGrp="1"/>
          </p:cNvSpPr>
          <p:nvPr>
            <p:ph type="tbl" sz="quarter" idx="24" hasCustomPrompt="1"/>
          </p:nvPr>
        </p:nvSpPr>
        <p:spPr>
          <a:xfrm>
            <a:off x="776287" y="2562225"/>
            <a:ext cx="3575485" cy="2281520"/>
          </a:xfrm>
        </p:spPr>
        <p:txBody>
          <a:bodyPr lIns="144000" tIns="144000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TABELĘ</a:t>
            </a:r>
          </a:p>
        </p:txBody>
      </p:sp>
      <p:sp>
        <p:nvSpPr>
          <p:cNvPr id="49" name="object 299">
            <a:extLst>
              <a:ext uri="{FF2B5EF4-FFF2-40B4-BE49-F238E27FC236}">
                <a16:creationId xmlns:a16="http://schemas.microsoft.com/office/drawing/2014/main" id="{D5F2ED96-CB1C-4361-889C-793296798D84}"/>
              </a:ext>
            </a:extLst>
          </p:cNvPr>
          <p:cNvSpPr/>
          <p:nvPr userDrawn="1"/>
        </p:nvSpPr>
        <p:spPr>
          <a:xfrm>
            <a:off x="9885365" y="908050"/>
            <a:ext cx="1790700" cy="1800225"/>
          </a:xfrm>
          <a:prstGeom prst="roundRect">
            <a:avLst>
              <a:gd name="adj" fmla="val 30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57" name="object 299">
            <a:extLst>
              <a:ext uri="{FF2B5EF4-FFF2-40B4-BE49-F238E27FC236}">
                <a16:creationId xmlns:a16="http://schemas.microsoft.com/office/drawing/2014/main" id="{952EE958-D7E9-4B66-BCE6-C67914D85B8B}"/>
              </a:ext>
            </a:extLst>
          </p:cNvPr>
          <p:cNvSpPr/>
          <p:nvPr userDrawn="1"/>
        </p:nvSpPr>
        <p:spPr>
          <a:xfrm>
            <a:off x="6132514" y="1844675"/>
            <a:ext cx="4140201" cy="3205163"/>
          </a:xfrm>
          <a:prstGeom prst="roundRect">
            <a:avLst>
              <a:gd name="adj" fmla="val 1802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2FAB3C68-3A88-49C9-AFC4-042D90B8213B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392864" y="2060390"/>
            <a:ext cx="3574733" cy="370355"/>
          </a:xfrm>
        </p:spPr>
        <p:txBody>
          <a:bodyPr l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ekst</a:t>
            </a:r>
          </a:p>
        </p:txBody>
      </p:sp>
      <p:sp>
        <p:nvSpPr>
          <p:cNvPr id="59" name="Table Placeholder 3">
            <a:extLst>
              <a:ext uri="{FF2B5EF4-FFF2-40B4-BE49-F238E27FC236}">
                <a16:creationId xmlns:a16="http://schemas.microsoft.com/office/drawing/2014/main" id="{373765A0-CC8A-43F7-9E9D-9B9722E69808}"/>
              </a:ext>
            </a:extLst>
          </p:cNvPr>
          <p:cNvSpPr>
            <a:spLocks noGrp="1"/>
          </p:cNvSpPr>
          <p:nvPr>
            <p:ph type="tbl" sz="quarter" idx="28" hasCustomPrompt="1"/>
          </p:nvPr>
        </p:nvSpPr>
        <p:spPr>
          <a:xfrm>
            <a:off x="6392864" y="2562225"/>
            <a:ext cx="3575485" cy="2281520"/>
          </a:xfrm>
        </p:spPr>
        <p:txBody>
          <a:bodyPr lIns="144000" tIns="144000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TABELĘ</a:t>
            </a:r>
          </a:p>
        </p:txBody>
      </p:sp>
      <p:sp>
        <p:nvSpPr>
          <p:cNvPr id="30" name="object 299">
            <a:extLst>
              <a:ext uri="{FF2B5EF4-FFF2-40B4-BE49-F238E27FC236}">
                <a16:creationId xmlns:a16="http://schemas.microsoft.com/office/drawing/2014/main" id="{5C9E4300-9A95-4C17-B86E-D2721C997FE0}"/>
              </a:ext>
            </a:extLst>
          </p:cNvPr>
          <p:cNvSpPr/>
          <p:nvPr userDrawn="1"/>
        </p:nvSpPr>
        <p:spPr>
          <a:xfrm>
            <a:off x="515937" y="5121275"/>
            <a:ext cx="11160126" cy="1334117"/>
          </a:xfrm>
          <a:prstGeom prst="roundRect">
            <a:avLst>
              <a:gd name="adj" fmla="val 416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F4992CA-6325-46C9-AEE7-3199B91CF94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76287" y="5603156"/>
            <a:ext cx="1776413" cy="370355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ekst</a:t>
            </a:r>
            <a:endParaRPr lang="en-US"/>
          </a:p>
        </p:txBody>
      </p:sp>
      <p:pic>
        <p:nvPicPr>
          <p:cNvPr id="22" name="Graphic 6">
            <a:extLst>
              <a:ext uri="{FF2B5EF4-FFF2-40B4-BE49-F238E27FC236}">
                <a16:creationId xmlns:a16="http://schemas.microsoft.com/office/drawing/2014/main" id="{BF5307CE-260E-42B7-9A00-A76F68A13A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25376" y="363481"/>
            <a:ext cx="1254125" cy="245544"/>
          </a:xfrm>
          <a:prstGeom prst="rect">
            <a:avLst/>
          </a:prstGeom>
        </p:spPr>
      </p:pic>
      <p:sp>
        <p:nvSpPr>
          <p:cNvPr id="18" name="Picture Placeholder 46">
            <a:extLst>
              <a:ext uri="{FF2B5EF4-FFF2-40B4-BE49-F238E27FC236}">
                <a16:creationId xmlns:a16="http://schemas.microsoft.com/office/drawing/2014/main" id="{3C1C19A0-27CE-4653-A35B-89A8D02A21E5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68788" y="908051"/>
            <a:ext cx="1790700" cy="1800225"/>
          </a:xfrm>
          <a:custGeom>
            <a:avLst/>
            <a:gdLst>
              <a:gd name="connsiteX0" fmla="*/ 54025 w 1790700"/>
              <a:gd name="connsiteY0" fmla="*/ 0 h 1800225"/>
              <a:gd name="connsiteX1" fmla="*/ 1736675 w 1790700"/>
              <a:gd name="connsiteY1" fmla="*/ 0 h 1800225"/>
              <a:gd name="connsiteX2" fmla="*/ 1790700 w 1790700"/>
              <a:gd name="connsiteY2" fmla="*/ 54025 h 1800225"/>
              <a:gd name="connsiteX3" fmla="*/ 1790700 w 1790700"/>
              <a:gd name="connsiteY3" fmla="*/ 1746200 h 1800225"/>
              <a:gd name="connsiteX4" fmla="*/ 1736675 w 1790700"/>
              <a:gd name="connsiteY4" fmla="*/ 1800225 h 1800225"/>
              <a:gd name="connsiteX5" fmla="*/ 54025 w 1790700"/>
              <a:gd name="connsiteY5" fmla="*/ 1800225 h 1800225"/>
              <a:gd name="connsiteX6" fmla="*/ 0 w 1790700"/>
              <a:gd name="connsiteY6" fmla="*/ 1746200 h 1800225"/>
              <a:gd name="connsiteX7" fmla="*/ 0 w 1790700"/>
              <a:gd name="connsiteY7" fmla="*/ 54025 h 1800225"/>
              <a:gd name="connsiteX8" fmla="*/ 54025 w 1790700"/>
              <a:gd name="connsiteY8" fmla="*/ 0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0700" h="1800225">
                <a:moveTo>
                  <a:pt x="54025" y="0"/>
                </a:moveTo>
                <a:lnTo>
                  <a:pt x="1736675" y="0"/>
                </a:lnTo>
                <a:cubicBezTo>
                  <a:pt x="1766512" y="0"/>
                  <a:pt x="1790700" y="24188"/>
                  <a:pt x="1790700" y="54025"/>
                </a:cubicBezTo>
                <a:lnTo>
                  <a:pt x="1790700" y="1746200"/>
                </a:lnTo>
                <a:cubicBezTo>
                  <a:pt x="1790700" y="1776037"/>
                  <a:pt x="1766512" y="1800225"/>
                  <a:pt x="1736675" y="1800225"/>
                </a:cubicBezTo>
                <a:lnTo>
                  <a:pt x="54025" y="1800225"/>
                </a:lnTo>
                <a:cubicBezTo>
                  <a:pt x="24188" y="1800225"/>
                  <a:pt x="0" y="1776037"/>
                  <a:pt x="0" y="1746200"/>
                </a:cubicBezTo>
                <a:lnTo>
                  <a:pt x="0" y="54025"/>
                </a:lnTo>
                <a:cubicBezTo>
                  <a:pt x="0" y="24188"/>
                  <a:pt x="24188" y="0"/>
                  <a:pt x="54025" y="0"/>
                </a:cubicBezTo>
                <a:close/>
              </a:path>
            </a:pathLst>
          </a:custGeom>
        </p:spPr>
        <p:txBody>
          <a:bodyPr wrap="square" lIns="144000" tIns="144000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zdjęcie</a:t>
            </a:r>
          </a:p>
        </p:txBody>
      </p:sp>
      <p:sp>
        <p:nvSpPr>
          <p:cNvPr id="19" name="Picture Placeholder 49">
            <a:extLst>
              <a:ext uri="{FF2B5EF4-FFF2-40B4-BE49-F238E27FC236}">
                <a16:creationId xmlns:a16="http://schemas.microsoft.com/office/drawing/2014/main" id="{0C2AB2F9-5266-4313-BC2E-BE534D469C6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885365" y="908051"/>
            <a:ext cx="1790700" cy="1800225"/>
          </a:xfrm>
          <a:custGeom>
            <a:avLst/>
            <a:gdLst>
              <a:gd name="connsiteX0" fmla="*/ 54025 w 1790700"/>
              <a:gd name="connsiteY0" fmla="*/ 0 h 1800225"/>
              <a:gd name="connsiteX1" fmla="*/ 1736675 w 1790700"/>
              <a:gd name="connsiteY1" fmla="*/ 0 h 1800225"/>
              <a:gd name="connsiteX2" fmla="*/ 1790700 w 1790700"/>
              <a:gd name="connsiteY2" fmla="*/ 54025 h 1800225"/>
              <a:gd name="connsiteX3" fmla="*/ 1790700 w 1790700"/>
              <a:gd name="connsiteY3" fmla="*/ 1746200 h 1800225"/>
              <a:gd name="connsiteX4" fmla="*/ 1736675 w 1790700"/>
              <a:gd name="connsiteY4" fmla="*/ 1800225 h 1800225"/>
              <a:gd name="connsiteX5" fmla="*/ 54025 w 1790700"/>
              <a:gd name="connsiteY5" fmla="*/ 1800225 h 1800225"/>
              <a:gd name="connsiteX6" fmla="*/ 0 w 1790700"/>
              <a:gd name="connsiteY6" fmla="*/ 1746200 h 1800225"/>
              <a:gd name="connsiteX7" fmla="*/ 0 w 1790700"/>
              <a:gd name="connsiteY7" fmla="*/ 54025 h 1800225"/>
              <a:gd name="connsiteX8" fmla="*/ 54025 w 1790700"/>
              <a:gd name="connsiteY8" fmla="*/ 0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0700" h="1800225">
                <a:moveTo>
                  <a:pt x="54025" y="0"/>
                </a:moveTo>
                <a:lnTo>
                  <a:pt x="1736675" y="0"/>
                </a:lnTo>
                <a:cubicBezTo>
                  <a:pt x="1766512" y="0"/>
                  <a:pt x="1790700" y="24188"/>
                  <a:pt x="1790700" y="54025"/>
                </a:cubicBezTo>
                <a:lnTo>
                  <a:pt x="1790700" y="1746200"/>
                </a:lnTo>
                <a:cubicBezTo>
                  <a:pt x="1790700" y="1776037"/>
                  <a:pt x="1766512" y="1800225"/>
                  <a:pt x="1736675" y="1800225"/>
                </a:cubicBezTo>
                <a:lnTo>
                  <a:pt x="54025" y="1800225"/>
                </a:lnTo>
                <a:cubicBezTo>
                  <a:pt x="24188" y="1800225"/>
                  <a:pt x="0" y="1776037"/>
                  <a:pt x="0" y="1746200"/>
                </a:cubicBezTo>
                <a:lnTo>
                  <a:pt x="0" y="54025"/>
                </a:lnTo>
                <a:cubicBezTo>
                  <a:pt x="0" y="24188"/>
                  <a:pt x="24188" y="0"/>
                  <a:pt x="54025" y="0"/>
                </a:cubicBezTo>
                <a:close/>
              </a:path>
            </a:pathLst>
          </a:custGeom>
        </p:spPr>
        <p:txBody>
          <a:bodyPr wrap="square" lIns="144000" tIns="144000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zdjęcie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9754DF35-2201-42A7-BC33-5E1A1786C9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79688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094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389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51AEDC3-9222-45DF-B9DC-5A1057B9E4BF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9DFD98D-29B2-4D41-ACE3-A5B4DA00AF8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zdjęcie</a:t>
            </a:r>
            <a:endParaRPr lang="en-GB"/>
          </a:p>
        </p:txBody>
      </p:sp>
      <p:sp>
        <p:nvSpPr>
          <p:cNvPr id="390" name="Text Placeholder 389">
            <a:extLst>
              <a:ext uri="{FF2B5EF4-FFF2-40B4-BE49-F238E27FC236}">
                <a16:creationId xmlns:a16="http://schemas.microsoft.com/office/drawing/2014/main" id="{56AA8022-34E0-4FBC-8B1A-2941CD03FC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43628" y="1733549"/>
            <a:ext cx="6048372" cy="3798889"/>
          </a:xfrm>
          <a:custGeom>
            <a:avLst/>
            <a:gdLst>
              <a:gd name="connsiteX0" fmla="*/ 90224 w 6048372"/>
              <a:gd name="connsiteY0" fmla="*/ 0 h 3798889"/>
              <a:gd name="connsiteX1" fmla="*/ 6048372 w 6048372"/>
              <a:gd name="connsiteY1" fmla="*/ 0 h 3798889"/>
              <a:gd name="connsiteX2" fmla="*/ 6048372 w 6048372"/>
              <a:gd name="connsiteY2" fmla="*/ 3798889 h 3798889"/>
              <a:gd name="connsiteX3" fmla="*/ 90224 w 6048372"/>
              <a:gd name="connsiteY3" fmla="*/ 3798889 h 3798889"/>
              <a:gd name="connsiteX4" fmla="*/ 0 w 6048372"/>
              <a:gd name="connsiteY4" fmla="*/ 3708665 h 3798889"/>
              <a:gd name="connsiteX5" fmla="*/ 0 w 6048372"/>
              <a:gd name="connsiteY5" fmla="*/ 90224 h 3798889"/>
              <a:gd name="connsiteX6" fmla="*/ 90224 w 6048372"/>
              <a:gd name="connsiteY6" fmla="*/ 0 h 379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8372" h="3798889">
                <a:moveTo>
                  <a:pt x="90224" y="0"/>
                </a:moveTo>
                <a:lnTo>
                  <a:pt x="6048372" y="0"/>
                </a:lnTo>
                <a:lnTo>
                  <a:pt x="6048372" y="3798889"/>
                </a:lnTo>
                <a:lnTo>
                  <a:pt x="90224" y="3798889"/>
                </a:lnTo>
                <a:cubicBezTo>
                  <a:pt x="40395" y="3798889"/>
                  <a:pt x="0" y="3758494"/>
                  <a:pt x="0" y="3708665"/>
                </a:cubicBezTo>
                <a:lnTo>
                  <a:pt x="0" y="90224"/>
                </a:lnTo>
                <a:cubicBezTo>
                  <a:pt x="0" y="40395"/>
                  <a:pt x="40395" y="0"/>
                  <a:pt x="90224" y="0"/>
                </a:cubicBezTo>
                <a:close/>
              </a:path>
            </a:pathLst>
          </a:custGeom>
          <a:solidFill>
            <a:schemeClr val="bg1">
              <a:alpha val="91000"/>
            </a:schemeClr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252C9B-D625-43A3-9FC1-B016BBD488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2300" y="2741614"/>
            <a:ext cx="4400550" cy="1857372"/>
          </a:xfrm>
        </p:spPr>
        <p:txBody>
          <a:bodyPr anchor="ctr">
            <a:no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r>
              <a:rPr lang="en-US"/>
              <a:t> </a:t>
            </a:r>
            <a:r>
              <a:rPr lang="en-US" err="1"/>
              <a:t>slajdu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A58C7B-6FA6-4602-A62F-D19DCB5C66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2300" y="4794250"/>
            <a:ext cx="4400550" cy="384174"/>
          </a:xfrm>
        </p:spPr>
        <p:txBody>
          <a:bodyPr anchor="b">
            <a:noAutofit/>
          </a:bodyPr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podtytuł</a:t>
            </a:r>
            <a:endParaRPr lang="en-US"/>
          </a:p>
        </p:txBody>
      </p:sp>
      <p:sp>
        <p:nvSpPr>
          <p:cNvPr id="387" name="Text Placeholder 386">
            <a:extLst>
              <a:ext uri="{FF2B5EF4-FFF2-40B4-BE49-F238E27FC236}">
                <a16:creationId xmlns:a16="http://schemas.microsoft.com/office/drawing/2014/main" id="{2BC182F4-E88C-4C5A-B357-882EC1E038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7942" y="2178395"/>
            <a:ext cx="2259427" cy="444152"/>
          </a:xfrm>
          <a:custGeom>
            <a:avLst/>
            <a:gdLst>
              <a:gd name="connsiteX0" fmla="*/ 204906 w 2259427"/>
              <a:gd name="connsiteY0" fmla="*/ 315259 h 444152"/>
              <a:gd name="connsiteX1" fmla="*/ 443917 w 2259427"/>
              <a:gd name="connsiteY1" fmla="*/ 382238 h 444152"/>
              <a:gd name="connsiteX2" fmla="*/ 682903 w 2259427"/>
              <a:gd name="connsiteY2" fmla="*/ 315285 h 444152"/>
              <a:gd name="connsiteX3" fmla="*/ 692598 w 2259427"/>
              <a:gd name="connsiteY3" fmla="*/ 361388 h 444152"/>
              <a:gd name="connsiteX4" fmla="*/ 443917 w 2259427"/>
              <a:gd name="connsiteY4" fmla="*/ 444152 h 444152"/>
              <a:gd name="connsiteX5" fmla="*/ 195211 w 2259427"/>
              <a:gd name="connsiteY5" fmla="*/ 361362 h 444152"/>
              <a:gd name="connsiteX6" fmla="*/ 1042863 w 2259427"/>
              <a:gd name="connsiteY6" fmla="*/ 124255 h 444152"/>
              <a:gd name="connsiteX7" fmla="*/ 992299 w 2259427"/>
              <a:gd name="connsiteY7" fmla="*/ 188010 h 444152"/>
              <a:gd name="connsiteX8" fmla="*/ 1045940 w 2259427"/>
              <a:gd name="connsiteY8" fmla="*/ 245604 h 444152"/>
              <a:gd name="connsiteX9" fmla="*/ 1082868 w 2259427"/>
              <a:gd name="connsiteY9" fmla="*/ 240331 h 444152"/>
              <a:gd name="connsiteX10" fmla="*/ 1082868 w 2259427"/>
              <a:gd name="connsiteY10" fmla="*/ 132814 h 444152"/>
              <a:gd name="connsiteX11" fmla="*/ 1042863 w 2259427"/>
              <a:gd name="connsiteY11" fmla="*/ 124255 h 444152"/>
              <a:gd name="connsiteX12" fmla="*/ 561960 w 2259427"/>
              <a:gd name="connsiteY12" fmla="*/ 124255 h 444152"/>
              <a:gd name="connsiteX13" fmla="*/ 521948 w 2259427"/>
              <a:gd name="connsiteY13" fmla="*/ 135251 h 444152"/>
              <a:gd name="connsiteX14" fmla="*/ 521948 w 2259427"/>
              <a:gd name="connsiteY14" fmla="*/ 240331 h 444152"/>
              <a:gd name="connsiteX15" fmla="*/ 558883 w 2259427"/>
              <a:gd name="connsiteY15" fmla="*/ 245604 h 444152"/>
              <a:gd name="connsiteX16" fmla="*/ 612517 w 2259427"/>
              <a:gd name="connsiteY16" fmla="*/ 188010 h 444152"/>
              <a:gd name="connsiteX17" fmla="*/ 561960 w 2259427"/>
              <a:gd name="connsiteY17" fmla="*/ 124255 h 444152"/>
              <a:gd name="connsiteX18" fmla="*/ 318051 w 2259427"/>
              <a:gd name="connsiteY18" fmla="*/ 124255 h 444152"/>
              <a:gd name="connsiteX19" fmla="*/ 267487 w 2259427"/>
              <a:gd name="connsiteY19" fmla="*/ 188010 h 444152"/>
              <a:gd name="connsiteX20" fmla="*/ 321128 w 2259427"/>
              <a:gd name="connsiteY20" fmla="*/ 245604 h 444152"/>
              <a:gd name="connsiteX21" fmla="*/ 358063 w 2259427"/>
              <a:gd name="connsiteY21" fmla="*/ 240331 h 444152"/>
              <a:gd name="connsiteX22" fmla="*/ 358063 w 2259427"/>
              <a:gd name="connsiteY22" fmla="*/ 132814 h 444152"/>
              <a:gd name="connsiteX23" fmla="*/ 318051 w 2259427"/>
              <a:gd name="connsiteY23" fmla="*/ 124255 h 444152"/>
              <a:gd name="connsiteX24" fmla="*/ 1321088 w 2259427"/>
              <a:gd name="connsiteY24" fmla="*/ 103821 h 444152"/>
              <a:gd name="connsiteX25" fmla="*/ 1236597 w 2259427"/>
              <a:gd name="connsiteY25" fmla="*/ 185495 h 444152"/>
              <a:gd name="connsiteX26" fmla="*/ 1311430 w 2259427"/>
              <a:gd name="connsiteY26" fmla="*/ 270791 h 444152"/>
              <a:gd name="connsiteX27" fmla="*/ 1378218 w 2259427"/>
              <a:gd name="connsiteY27" fmla="*/ 245442 h 444152"/>
              <a:gd name="connsiteX28" fmla="*/ 1378218 w 2259427"/>
              <a:gd name="connsiteY28" fmla="*/ 116296 h 444152"/>
              <a:gd name="connsiteX29" fmla="*/ 1321088 w 2259427"/>
              <a:gd name="connsiteY29" fmla="*/ 103821 h 444152"/>
              <a:gd name="connsiteX30" fmla="*/ 2168103 w 2259427"/>
              <a:gd name="connsiteY30" fmla="*/ 102196 h 444152"/>
              <a:gd name="connsiteX31" fmla="*/ 2096887 w 2259427"/>
              <a:gd name="connsiteY31" fmla="*/ 176223 h 444152"/>
              <a:gd name="connsiteX32" fmla="*/ 2096887 w 2259427"/>
              <a:gd name="connsiteY32" fmla="*/ 240999 h 444152"/>
              <a:gd name="connsiteX33" fmla="*/ 2239713 w 2259427"/>
              <a:gd name="connsiteY33" fmla="*/ 185074 h 444152"/>
              <a:gd name="connsiteX34" fmla="*/ 2168103 w 2259427"/>
              <a:gd name="connsiteY34" fmla="*/ 102196 h 444152"/>
              <a:gd name="connsiteX35" fmla="*/ 1698272 w 2259427"/>
              <a:gd name="connsiteY35" fmla="*/ 101001 h 444152"/>
              <a:gd name="connsiteX36" fmla="*/ 1615793 w 2259427"/>
              <a:gd name="connsiteY36" fmla="*/ 183985 h 444152"/>
              <a:gd name="connsiteX37" fmla="*/ 1780751 w 2259427"/>
              <a:gd name="connsiteY37" fmla="*/ 183985 h 444152"/>
              <a:gd name="connsiteX38" fmla="*/ 1698272 w 2259427"/>
              <a:gd name="connsiteY38" fmla="*/ 101001 h 444152"/>
              <a:gd name="connsiteX39" fmla="*/ 1841552 w 2259427"/>
              <a:gd name="connsiteY39" fmla="*/ 88927 h 444152"/>
              <a:gd name="connsiteX40" fmla="*/ 1860866 w 2259427"/>
              <a:gd name="connsiteY40" fmla="*/ 88927 h 444152"/>
              <a:gd name="connsiteX41" fmla="*/ 1860866 w 2259427"/>
              <a:gd name="connsiteY41" fmla="*/ 206811 h 444152"/>
              <a:gd name="connsiteX42" fmla="*/ 1924031 w 2259427"/>
              <a:gd name="connsiteY42" fmla="*/ 269170 h 444152"/>
              <a:gd name="connsiteX43" fmla="*/ 1985590 w 2259427"/>
              <a:gd name="connsiteY43" fmla="*/ 203588 h 444152"/>
              <a:gd name="connsiteX44" fmla="*/ 1985590 w 2259427"/>
              <a:gd name="connsiteY44" fmla="*/ 88927 h 444152"/>
              <a:gd name="connsiteX45" fmla="*/ 2004905 w 2259427"/>
              <a:gd name="connsiteY45" fmla="*/ 88927 h 444152"/>
              <a:gd name="connsiteX46" fmla="*/ 2004905 w 2259427"/>
              <a:gd name="connsiteY46" fmla="*/ 233365 h 444152"/>
              <a:gd name="connsiteX47" fmla="*/ 2029441 w 2259427"/>
              <a:gd name="connsiteY47" fmla="*/ 267565 h 444152"/>
              <a:gd name="connsiteX48" fmla="*/ 2029847 w 2259427"/>
              <a:gd name="connsiteY48" fmla="*/ 283656 h 444152"/>
              <a:gd name="connsiteX49" fmla="*/ 1987602 w 2259427"/>
              <a:gd name="connsiteY49" fmla="*/ 252273 h 444152"/>
              <a:gd name="connsiteX50" fmla="*/ 1919608 w 2259427"/>
              <a:gd name="connsiteY50" fmla="*/ 287279 h 444152"/>
              <a:gd name="connsiteX51" fmla="*/ 1841552 w 2259427"/>
              <a:gd name="connsiteY51" fmla="*/ 206811 h 444152"/>
              <a:gd name="connsiteX52" fmla="*/ 1322293 w 2259427"/>
              <a:gd name="connsiteY52" fmla="*/ 84913 h 444152"/>
              <a:gd name="connsiteX53" fmla="*/ 1397126 w 2259427"/>
              <a:gd name="connsiteY53" fmla="*/ 103422 h 444152"/>
              <a:gd name="connsiteX54" fmla="*/ 1397126 w 2259427"/>
              <a:gd name="connsiteY54" fmla="*/ 300162 h 444152"/>
              <a:gd name="connsiteX55" fmla="*/ 1309819 w 2259427"/>
              <a:gd name="connsiteY55" fmla="*/ 389881 h 444152"/>
              <a:gd name="connsiteX56" fmla="*/ 1230563 w 2259427"/>
              <a:gd name="connsiteY56" fmla="*/ 368155 h 444152"/>
              <a:gd name="connsiteX57" fmla="*/ 1235392 w 2259427"/>
              <a:gd name="connsiteY57" fmla="*/ 350453 h 444152"/>
              <a:gd name="connsiteX58" fmla="*/ 1309819 w 2259427"/>
              <a:gd name="connsiteY58" fmla="*/ 371778 h 444152"/>
              <a:gd name="connsiteX59" fmla="*/ 1378218 w 2259427"/>
              <a:gd name="connsiteY59" fmla="*/ 300162 h 444152"/>
              <a:gd name="connsiteX60" fmla="*/ 1378218 w 2259427"/>
              <a:gd name="connsiteY60" fmla="*/ 265962 h 444152"/>
              <a:gd name="connsiteX61" fmla="*/ 1310225 w 2259427"/>
              <a:gd name="connsiteY61" fmla="*/ 288087 h 444152"/>
              <a:gd name="connsiteX62" fmla="*/ 1217283 w 2259427"/>
              <a:gd name="connsiteY62" fmla="*/ 185495 h 444152"/>
              <a:gd name="connsiteX63" fmla="*/ 1322293 w 2259427"/>
              <a:gd name="connsiteY63" fmla="*/ 84913 h 444152"/>
              <a:gd name="connsiteX64" fmla="*/ 1537958 w 2259427"/>
              <a:gd name="connsiteY64" fmla="*/ 84905 h 444152"/>
              <a:gd name="connsiteX65" fmla="*/ 1587443 w 2259427"/>
              <a:gd name="connsiteY65" fmla="*/ 100196 h 444152"/>
              <a:gd name="connsiteX66" fmla="*/ 1580603 w 2259427"/>
              <a:gd name="connsiteY66" fmla="*/ 117093 h 444152"/>
              <a:gd name="connsiteX67" fmla="*/ 1536347 w 2259427"/>
              <a:gd name="connsiteY67" fmla="*/ 103813 h 444152"/>
              <a:gd name="connsiteX68" fmla="*/ 1479622 w 2259427"/>
              <a:gd name="connsiteY68" fmla="*/ 157327 h 444152"/>
              <a:gd name="connsiteX69" fmla="*/ 1479622 w 2259427"/>
              <a:gd name="connsiteY69" fmla="*/ 282851 h 444152"/>
              <a:gd name="connsiteX70" fmla="*/ 1460308 w 2259427"/>
              <a:gd name="connsiteY70" fmla="*/ 282851 h 444152"/>
              <a:gd name="connsiteX71" fmla="*/ 1460308 w 2259427"/>
              <a:gd name="connsiteY71" fmla="*/ 133584 h 444152"/>
              <a:gd name="connsiteX72" fmla="*/ 1435366 w 2259427"/>
              <a:gd name="connsiteY72" fmla="*/ 105824 h 444152"/>
              <a:gd name="connsiteX73" fmla="*/ 1434560 w 2259427"/>
              <a:gd name="connsiteY73" fmla="*/ 89334 h 444152"/>
              <a:gd name="connsiteX74" fmla="*/ 1478816 w 2259427"/>
              <a:gd name="connsiteY74" fmla="*/ 114676 h 444152"/>
              <a:gd name="connsiteX75" fmla="*/ 1537958 w 2259427"/>
              <a:gd name="connsiteY75" fmla="*/ 84905 h 444152"/>
              <a:gd name="connsiteX76" fmla="*/ 2171320 w 2259427"/>
              <a:gd name="connsiteY76" fmla="*/ 84093 h 444152"/>
              <a:gd name="connsiteX77" fmla="*/ 2259427 w 2259427"/>
              <a:gd name="connsiteY77" fmla="*/ 185074 h 444152"/>
              <a:gd name="connsiteX78" fmla="*/ 2096887 w 2259427"/>
              <a:gd name="connsiteY78" fmla="*/ 261113 h 444152"/>
              <a:gd name="connsiteX79" fmla="*/ 2096887 w 2259427"/>
              <a:gd name="connsiteY79" fmla="*/ 383020 h 444152"/>
              <a:gd name="connsiteX80" fmla="*/ 2077978 w 2259427"/>
              <a:gd name="connsiteY80" fmla="*/ 383020 h 444152"/>
              <a:gd name="connsiteX81" fmla="*/ 2077978 w 2259427"/>
              <a:gd name="connsiteY81" fmla="*/ 148057 h 444152"/>
              <a:gd name="connsiteX82" fmla="*/ 2053036 w 2259427"/>
              <a:gd name="connsiteY82" fmla="*/ 103001 h 444152"/>
              <a:gd name="connsiteX83" fmla="*/ 2052230 w 2259427"/>
              <a:gd name="connsiteY83" fmla="*/ 86904 h 444152"/>
              <a:gd name="connsiteX84" fmla="*/ 2094475 w 2259427"/>
              <a:gd name="connsiteY84" fmla="*/ 122309 h 444152"/>
              <a:gd name="connsiteX85" fmla="*/ 2094475 w 2259427"/>
              <a:gd name="connsiteY85" fmla="*/ 127944 h 444152"/>
              <a:gd name="connsiteX86" fmla="*/ 2171320 w 2259427"/>
              <a:gd name="connsiteY86" fmla="*/ 84093 h 444152"/>
              <a:gd name="connsiteX87" fmla="*/ 1698269 w 2259427"/>
              <a:gd name="connsiteY87" fmla="*/ 83503 h 444152"/>
              <a:gd name="connsiteX88" fmla="*/ 1800059 w 2259427"/>
              <a:gd name="connsiteY88" fmla="*/ 183985 h 444152"/>
              <a:gd name="connsiteX89" fmla="*/ 1596479 w 2259427"/>
              <a:gd name="connsiteY89" fmla="*/ 183985 h 444152"/>
              <a:gd name="connsiteX90" fmla="*/ 1698269 w 2259427"/>
              <a:gd name="connsiteY90" fmla="*/ 83503 h 444152"/>
              <a:gd name="connsiteX91" fmla="*/ 6592 w 2259427"/>
              <a:gd name="connsiteY91" fmla="*/ 78970 h 444152"/>
              <a:gd name="connsiteX92" fmla="*/ 181138 w 2259427"/>
              <a:gd name="connsiteY92" fmla="*/ 78970 h 444152"/>
              <a:gd name="connsiteX93" fmla="*/ 181138 w 2259427"/>
              <a:gd name="connsiteY93" fmla="*/ 86007 h 444152"/>
              <a:gd name="connsiteX94" fmla="*/ 88811 w 2259427"/>
              <a:gd name="connsiteY94" fmla="*/ 237698 h 444152"/>
              <a:gd name="connsiteX95" fmla="*/ 181138 w 2259427"/>
              <a:gd name="connsiteY95" fmla="*/ 237698 h 444152"/>
              <a:gd name="connsiteX96" fmla="*/ 181138 w 2259427"/>
              <a:gd name="connsiteY96" fmla="*/ 290894 h 444152"/>
              <a:gd name="connsiteX97" fmla="*/ 0 w 2259427"/>
              <a:gd name="connsiteY97" fmla="*/ 290894 h 444152"/>
              <a:gd name="connsiteX98" fmla="*/ 0 w 2259427"/>
              <a:gd name="connsiteY98" fmla="*/ 283858 h 444152"/>
              <a:gd name="connsiteX99" fmla="*/ 93646 w 2259427"/>
              <a:gd name="connsiteY99" fmla="*/ 129978 h 444152"/>
              <a:gd name="connsiteX100" fmla="*/ 6592 w 2259427"/>
              <a:gd name="connsiteY100" fmla="*/ 129978 h 444152"/>
              <a:gd name="connsiteX101" fmla="*/ 1032311 w 2259427"/>
              <a:gd name="connsiteY101" fmla="*/ 74573 h 444152"/>
              <a:gd name="connsiteX102" fmla="*/ 1142663 w 2259427"/>
              <a:gd name="connsiteY102" fmla="*/ 98818 h 444152"/>
              <a:gd name="connsiteX103" fmla="*/ 1142663 w 2259427"/>
              <a:gd name="connsiteY103" fmla="*/ 278947 h 444152"/>
              <a:gd name="connsiteX104" fmla="*/ 1052970 w 2259427"/>
              <a:gd name="connsiteY104" fmla="*/ 295292 h 444152"/>
              <a:gd name="connsiteX105" fmla="*/ 930746 w 2259427"/>
              <a:gd name="connsiteY105" fmla="*/ 188010 h 444152"/>
              <a:gd name="connsiteX106" fmla="*/ 1032311 w 2259427"/>
              <a:gd name="connsiteY106" fmla="*/ 74573 h 444152"/>
              <a:gd name="connsiteX107" fmla="*/ 307499 w 2259427"/>
              <a:gd name="connsiteY107" fmla="*/ 74573 h 444152"/>
              <a:gd name="connsiteX108" fmla="*/ 417852 w 2259427"/>
              <a:gd name="connsiteY108" fmla="*/ 98818 h 444152"/>
              <a:gd name="connsiteX109" fmla="*/ 417852 w 2259427"/>
              <a:gd name="connsiteY109" fmla="*/ 278947 h 444152"/>
              <a:gd name="connsiteX110" fmla="*/ 328165 w 2259427"/>
              <a:gd name="connsiteY110" fmla="*/ 295292 h 444152"/>
              <a:gd name="connsiteX111" fmla="*/ 205934 w 2259427"/>
              <a:gd name="connsiteY111" fmla="*/ 188010 h 444152"/>
              <a:gd name="connsiteX112" fmla="*/ 307499 w 2259427"/>
              <a:gd name="connsiteY112" fmla="*/ 74573 h 444152"/>
              <a:gd name="connsiteX113" fmla="*/ 462153 w 2259427"/>
              <a:gd name="connsiteY113" fmla="*/ 7595 h 444152"/>
              <a:gd name="connsiteX114" fmla="*/ 523268 w 2259427"/>
              <a:gd name="connsiteY114" fmla="*/ 7595 h 444152"/>
              <a:gd name="connsiteX115" fmla="*/ 523268 w 2259427"/>
              <a:gd name="connsiteY115" fmla="*/ 84694 h 444152"/>
              <a:gd name="connsiteX116" fmla="*/ 572506 w 2259427"/>
              <a:gd name="connsiteY116" fmla="*/ 74573 h 444152"/>
              <a:gd name="connsiteX117" fmla="*/ 674070 w 2259427"/>
              <a:gd name="connsiteY117" fmla="*/ 188010 h 444152"/>
              <a:gd name="connsiteX118" fmla="*/ 551846 w 2259427"/>
              <a:gd name="connsiteY118" fmla="*/ 295292 h 444152"/>
              <a:gd name="connsiteX119" fmla="*/ 462153 w 2259427"/>
              <a:gd name="connsiteY119" fmla="*/ 278585 h 444152"/>
              <a:gd name="connsiteX120" fmla="*/ 709926 w 2259427"/>
              <a:gd name="connsiteY120" fmla="*/ 7151 h 444152"/>
              <a:gd name="connsiteX121" fmla="*/ 771041 w 2259427"/>
              <a:gd name="connsiteY121" fmla="*/ 7151 h 444152"/>
              <a:gd name="connsiteX122" fmla="*/ 771041 w 2259427"/>
              <a:gd name="connsiteY122" fmla="*/ 156799 h 444152"/>
              <a:gd name="connsiteX123" fmla="*/ 785990 w 2259427"/>
              <a:gd name="connsiteY123" fmla="*/ 156799 h 444152"/>
              <a:gd name="connsiteX124" fmla="*/ 847099 w 2259427"/>
              <a:gd name="connsiteY124" fmla="*/ 78970 h 444152"/>
              <a:gd name="connsiteX125" fmla="*/ 905144 w 2259427"/>
              <a:gd name="connsiteY125" fmla="*/ 78970 h 444152"/>
              <a:gd name="connsiteX126" fmla="*/ 854574 w 2259427"/>
              <a:gd name="connsiteY126" fmla="*/ 183181 h 444152"/>
              <a:gd name="connsiteX127" fmla="*/ 915251 w 2259427"/>
              <a:gd name="connsiteY127" fmla="*/ 284296 h 444152"/>
              <a:gd name="connsiteX128" fmla="*/ 915251 w 2259427"/>
              <a:gd name="connsiteY128" fmla="*/ 290450 h 444152"/>
              <a:gd name="connsiteX129" fmla="*/ 853260 w 2259427"/>
              <a:gd name="connsiteY129" fmla="*/ 290450 h 444152"/>
              <a:gd name="connsiteX130" fmla="*/ 802697 w 2259427"/>
              <a:gd name="connsiteY130" fmla="*/ 202521 h 444152"/>
              <a:gd name="connsiteX131" fmla="*/ 785108 w 2259427"/>
              <a:gd name="connsiteY131" fmla="*/ 205160 h 444152"/>
              <a:gd name="connsiteX132" fmla="*/ 771041 w 2259427"/>
              <a:gd name="connsiteY132" fmla="*/ 205160 h 444152"/>
              <a:gd name="connsiteX133" fmla="*/ 771041 w 2259427"/>
              <a:gd name="connsiteY133" fmla="*/ 290450 h 444152"/>
              <a:gd name="connsiteX134" fmla="*/ 709926 w 2259427"/>
              <a:gd name="connsiteY134" fmla="*/ 290450 h 444152"/>
              <a:gd name="connsiteX135" fmla="*/ 95842 w 2259427"/>
              <a:gd name="connsiteY135" fmla="*/ 0 h 444152"/>
              <a:gd name="connsiteX136" fmla="*/ 129153 w 2259427"/>
              <a:gd name="connsiteY136" fmla="*/ 30805 h 444152"/>
              <a:gd name="connsiteX137" fmla="*/ 95842 w 2259427"/>
              <a:gd name="connsiteY137" fmla="*/ 60786 h 444152"/>
              <a:gd name="connsiteX138" fmla="*/ 63374 w 2259427"/>
              <a:gd name="connsiteY138" fmla="*/ 30805 h 444152"/>
              <a:gd name="connsiteX139" fmla="*/ 95842 w 2259427"/>
              <a:gd name="connsiteY139" fmla="*/ 0 h 444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2259427" h="444152">
                <a:moveTo>
                  <a:pt x="204906" y="315259"/>
                </a:moveTo>
                <a:cubicBezTo>
                  <a:pt x="273084" y="357505"/>
                  <a:pt x="355379" y="382238"/>
                  <a:pt x="443917" y="382238"/>
                </a:cubicBezTo>
                <a:cubicBezTo>
                  <a:pt x="532449" y="382238"/>
                  <a:pt x="614725" y="357511"/>
                  <a:pt x="682903" y="315285"/>
                </a:cubicBezTo>
                <a:lnTo>
                  <a:pt x="692598" y="361388"/>
                </a:lnTo>
                <a:cubicBezTo>
                  <a:pt x="623196" y="413347"/>
                  <a:pt x="537088" y="444152"/>
                  <a:pt x="443917" y="444152"/>
                </a:cubicBezTo>
                <a:cubicBezTo>
                  <a:pt x="350734" y="444152"/>
                  <a:pt x="264613" y="413335"/>
                  <a:pt x="195211" y="361362"/>
                </a:cubicBezTo>
                <a:close/>
                <a:moveTo>
                  <a:pt x="1042863" y="124255"/>
                </a:moveTo>
                <a:cubicBezTo>
                  <a:pt x="1014284" y="125581"/>
                  <a:pt x="992299" y="140524"/>
                  <a:pt x="992299" y="188010"/>
                </a:cubicBezTo>
                <a:cubicBezTo>
                  <a:pt x="992299" y="231099"/>
                  <a:pt x="1014722" y="245166"/>
                  <a:pt x="1045940" y="245604"/>
                </a:cubicBezTo>
                <a:cubicBezTo>
                  <a:pt x="1057367" y="246041"/>
                  <a:pt x="1069677" y="243852"/>
                  <a:pt x="1082868" y="240331"/>
                </a:cubicBezTo>
                <a:lnTo>
                  <a:pt x="1082868" y="132814"/>
                </a:lnTo>
                <a:cubicBezTo>
                  <a:pt x="1068446" y="126349"/>
                  <a:pt x="1055166" y="123817"/>
                  <a:pt x="1042863" y="124255"/>
                </a:cubicBezTo>
                <a:close/>
                <a:moveTo>
                  <a:pt x="561960" y="124255"/>
                </a:moveTo>
                <a:cubicBezTo>
                  <a:pt x="549651" y="123817"/>
                  <a:pt x="536015" y="127332"/>
                  <a:pt x="521948" y="135251"/>
                </a:cubicBezTo>
                <a:lnTo>
                  <a:pt x="521948" y="240331"/>
                </a:lnTo>
                <a:cubicBezTo>
                  <a:pt x="535133" y="243852"/>
                  <a:pt x="547449" y="246041"/>
                  <a:pt x="558883" y="245604"/>
                </a:cubicBezTo>
                <a:cubicBezTo>
                  <a:pt x="590094" y="245166"/>
                  <a:pt x="612517" y="231099"/>
                  <a:pt x="612517" y="188010"/>
                </a:cubicBezTo>
                <a:cubicBezTo>
                  <a:pt x="612517" y="140524"/>
                  <a:pt x="590538" y="125581"/>
                  <a:pt x="561960" y="124255"/>
                </a:cubicBezTo>
                <a:close/>
                <a:moveTo>
                  <a:pt x="318051" y="124255"/>
                </a:moveTo>
                <a:cubicBezTo>
                  <a:pt x="289473" y="125581"/>
                  <a:pt x="267487" y="140524"/>
                  <a:pt x="267487" y="188010"/>
                </a:cubicBezTo>
                <a:cubicBezTo>
                  <a:pt x="267487" y="231099"/>
                  <a:pt x="289911" y="245166"/>
                  <a:pt x="321128" y="245604"/>
                </a:cubicBezTo>
                <a:cubicBezTo>
                  <a:pt x="332556" y="246041"/>
                  <a:pt x="344865" y="243852"/>
                  <a:pt x="358063" y="240331"/>
                </a:cubicBezTo>
                <a:lnTo>
                  <a:pt x="358063" y="132814"/>
                </a:lnTo>
                <a:cubicBezTo>
                  <a:pt x="343634" y="126349"/>
                  <a:pt x="330360" y="123817"/>
                  <a:pt x="318051" y="124255"/>
                </a:cubicBezTo>
                <a:close/>
                <a:moveTo>
                  <a:pt x="1321088" y="103821"/>
                </a:moveTo>
                <a:cubicBezTo>
                  <a:pt x="1270797" y="103821"/>
                  <a:pt x="1236597" y="130375"/>
                  <a:pt x="1236597" y="185495"/>
                </a:cubicBezTo>
                <a:cubicBezTo>
                  <a:pt x="1236597" y="244637"/>
                  <a:pt x="1271197" y="270791"/>
                  <a:pt x="1311430" y="270791"/>
                </a:cubicBezTo>
                <a:cubicBezTo>
                  <a:pt x="1333555" y="270791"/>
                  <a:pt x="1356893" y="262745"/>
                  <a:pt x="1378218" y="245442"/>
                </a:cubicBezTo>
                <a:lnTo>
                  <a:pt x="1378218" y="116296"/>
                </a:lnTo>
                <a:cubicBezTo>
                  <a:pt x="1358504" y="107844"/>
                  <a:pt x="1339590" y="103821"/>
                  <a:pt x="1321088" y="103821"/>
                </a:cubicBezTo>
                <a:close/>
                <a:moveTo>
                  <a:pt x="2168103" y="102196"/>
                </a:moveTo>
                <a:cubicBezTo>
                  <a:pt x="2125458" y="102196"/>
                  <a:pt x="2098098" y="135589"/>
                  <a:pt x="2096887" y="176223"/>
                </a:cubicBezTo>
                <a:lnTo>
                  <a:pt x="2096887" y="240999"/>
                </a:lnTo>
                <a:cubicBezTo>
                  <a:pt x="2156029" y="290484"/>
                  <a:pt x="2239713" y="267953"/>
                  <a:pt x="2239713" y="185074"/>
                </a:cubicBezTo>
                <a:cubicBezTo>
                  <a:pt x="2239713" y="141624"/>
                  <a:pt x="2215577" y="102196"/>
                  <a:pt x="2168103" y="102196"/>
                </a:cubicBezTo>
                <a:close/>
                <a:moveTo>
                  <a:pt x="1698272" y="101001"/>
                </a:moveTo>
                <a:cubicBezTo>
                  <a:pt x="1657033" y="101001"/>
                  <a:pt x="1615793" y="128662"/>
                  <a:pt x="1615793" y="183985"/>
                </a:cubicBezTo>
                <a:cubicBezTo>
                  <a:pt x="1615793" y="293824"/>
                  <a:pt x="1780751" y="294623"/>
                  <a:pt x="1780751" y="183985"/>
                </a:cubicBezTo>
                <a:cubicBezTo>
                  <a:pt x="1780751" y="128662"/>
                  <a:pt x="1739511" y="101001"/>
                  <a:pt x="1698272" y="101001"/>
                </a:cubicBezTo>
                <a:close/>
                <a:moveTo>
                  <a:pt x="1841552" y="88927"/>
                </a:moveTo>
                <a:lnTo>
                  <a:pt x="1860866" y="88927"/>
                </a:lnTo>
                <a:lnTo>
                  <a:pt x="1860866" y="206811"/>
                </a:lnTo>
                <a:cubicBezTo>
                  <a:pt x="1860866" y="245433"/>
                  <a:pt x="1886614" y="269170"/>
                  <a:pt x="1924031" y="269170"/>
                </a:cubicBezTo>
                <a:cubicBezTo>
                  <a:pt x="1962659" y="269576"/>
                  <a:pt x="1985590" y="243822"/>
                  <a:pt x="1985590" y="203588"/>
                </a:cubicBezTo>
                <a:lnTo>
                  <a:pt x="1985590" y="88927"/>
                </a:lnTo>
                <a:lnTo>
                  <a:pt x="2004905" y="88927"/>
                </a:lnTo>
                <a:lnTo>
                  <a:pt x="2004905" y="233365"/>
                </a:lnTo>
                <a:cubicBezTo>
                  <a:pt x="2004905" y="264342"/>
                  <a:pt x="2008122" y="270782"/>
                  <a:pt x="2029441" y="267565"/>
                </a:cubicBezTo>
                <a:lnTo>
                  <a:pt x="2029847" y="283656"/>
                </a:lnTo>
                <a:cubicBezTo>
                  <a:pt x="2000476" y="288078"/>
                  <a:pt x="1987602" y="283250"/>
                  <a:pt x="1987602" y="252273"/>
                </a:cubicBezTo>
                <a:cubicBezTo>
                  <a:pt x="1969493" y="279227"/>
                  <a:pt x="1950185" y="287279"/>
                  <a:pt x="1919608" y="287279"/>
                </a:cubicBezTo>
                <a:cubicBezTo>
                  <a:pt x="1870523" y="287279"/>
                  <a:pt x="1841552" y="253479"/>
                  <a:pt x="1841552" y="206811"/>
                </a:cubicBezTo>
                <a:close/>
                <a:moveTo>
                  <a:pt x="1322293" y="84913"/>
                </a:moveTo>
                <a:cubicBezTo>
                  <a:pt x="1349253" y="85313"/>
                  <a:pt x="1373390" y="92559"/>
                  <a:pt x="1397126" y="103422"/>
                </a:cubicBezTo>
                <a:lnTo>
                  <a:pt x="1397126" y="300162"/>
                </a:lnTo>
                <a:cubicBezTo>
                  <a:pt x="1397126" y="362927"/>
                  <a:pt x="1356893" y="389475"/>
                  <a:pt x="1309819" y="389881"/>
                </a:cubicBezTo>
                <a:cubicBezTo>
                  <a:pt x="1283671" y="390280"/>
                  <a:pt x="1255505" y="382641"/>
                  <a:pt x="1230563" y="368155"/>
                </a:cubicBezTo>
                <a:lnTo>
                  <a:pt x="1235392" y="350453"/>
                </a:lnTo>
                <a:cubicBezTo>
                  <a:pt x="1258322" y="363726"/>
                  <a:pt x="1285283" y="371778"/>
                  <a:pt x="1309819" y="371778"/>
                </a:cubicBezTo>
                <a:cubicBezTo>
                  <a:pt x="1347235" y="371778"/>
                  <a:pt x="1378218" y="352064"/>
                  <a:pt x="1378218" y="300162"/>
                </a:cubicBezTo>
                <a:lnTo>
                  <a:pt x="1378218" y="265962"/>
                </a:lnTo>
                <a:cubicBezTo>
                  <a:pt x="1355687" y="280848"/>
                  <a:pt x="1332756" y="287688"/>
                  <a:pt x="1310225" y="288087"/>
                </a:cubicBezTo>
                <a:cubicBezTo>
                  <a:pt x="1259934" y="289299"/>
                  <a:pt x="1217283" y="255100"/>
                  <a:pt x="1217283" y="185495"/>
                </a:cubicBezTo>
                <a:cubicBezTo>
                  <a:pt x="1217283" y="118707"/>
                  <a:pt x="1261539" y="84913"/>
                  <a:pt x="1322293" y="84913"/>
                </a:cubicBezTo>
                <a:close/>
                <a:moveTo>
                  <a:pt x="1537958" y="84905"/>
                </a:moveTo>
                <a:cubicBezTo>
                  <a:pt x="1556866" y="85311"/>
                  <a:pt x="1574569" y="90939"/>
                  <a:pt x="1587443" y="100196"/>
                </a:cubicBezTo>
                <a:lnTo>
                  <a:pt x="1580603" y="117093"/>
                </a:lnTo>
                <a:cubicBezTo>
                  <a:pt x="1568135" y="107836"/>
                  <a:pt x="1552038" y="103813"/>
                  <a:pt x="1536347" y="103813"/>
                </a:cubicBezTo>
                <a:cubicBezTo>
                  <a:pt x="1507382" y="103813"/>
                  <a:pt x="1479622" y="124333"/>
                  <a:pt x="1479622" y="157327"/>
                </a:cubicBezTo>
                <a:lnTo>
                  <a:pt x="1479622" y="282851"/>
                </a:lnTo>
                <a:lnTo>
                  <a:pt x="1460308" y="282851"/>
                </a:lnTo>
                <a:lnTo>
                  <a:pt x="1460308" y="133584"/>
                </a:lnTo>
                <a:cubicBezTo>
                  <a:pt x="1460308" y="114676"/>
                  <a:pt x="1459908" y="102607"/>
                  <a:pt x="1435366" y="105824"/>
                </a:cubicBezTo>
                <a:lnTo>
                  <a:pt x="1434560" y="89334"/>
                </a:lnTo>
                <a:cubicBezTo>
                  <a:pt x="1465536" y="84099"/>
                  <a:pt x="1478816" y="92145"/>
                  <a:pt x="1478816" y="114676"/>
                </a:cubicBezTo>
                <a:cubicBezTo>
                  <a:pt x="1491690" y="91745"/>
                  <a:pt x="1515427" y="83699"/>
                  <a:pt x="1537958" y="84905"/>
                </a:cubicBezTo>
                <a:close/>
                <a:moveTo>
                  <a:pt x="2171320" y="84093"/>
                </a:moveTo>
                <a:cubicBezTo>
                  <a:pt x="2228051" y="84093"/>
                  <a:pt x="2259427" y="131567"/>
                  <a:pt x="2259427" y="185074"/>
                </a:cubicBezTo>
                <a:cubicBezTo>
                  <a:pt x="2259427" y="277211"/>
                  <a:pt x="2167297" y="313422"/>
                  <a:pt x="2096887" y="261113"/>
                </a:cubicBezTo>
                <a:lnTo>
                  <a:pt x="2096887" y="383020"/>
                </a:lnTo>
                <a:lnTo>
                  <a:pt x="2077978" y="383020"/>
                </a:lnTo>
                <a:lnTo>
                  <a:pt x="2077978" y="148057"/>
                </a:lnTo>
                <a:cubicBezTo>
                  <a:pt x="2077978" y="118693"/>
                  <a:pt x="2080396" y="98573"/>
                  <a:pt x="2053036" y="103001"/>
                </a:cubicBezTo>
                <a:lnTo>
                  <a:pt x="2052230" y="86904"/>
                </a:lnTo>
                <a:cubicBezTo>
                  <a:pt x="2084419" y="81676"/>
                  <a:pt x="2094475" y="95356"/>
                  <a:pt x="2094475" y="122309"/>
                </a:cubicBezTo>
                <a:lnTo>
                  <a:pt x="2094475" y="127944"/>
                </a:lnTo>
                <a:cubicBezTo>
                  <a:pt x="2110167" y="95755"/>
                  <a:pt x="2137526" y="84093"/>
                  <a:pt x="2171320" y="84093"/>
                </a:cubicBezTo>
                <a:close/>
                <a:moveTo>
                  <a:pt x="1698269" y="83503"/>
                </a:moveTo>
                <a:cubicBezTo>
                  <a:pt x="1749164" y="83503"/>
                  <a:pt x="1800059" y="116997"/>
                  <a:pt x="1800059" y="183985"/>
                </a:cubicBezTo>
                <a:cubicBezTo>
                  <a:pt x="1800059" y="317560"/>
                  <a:pt x="1596479" y="317560"/>
                  <a:pt x="1596479" y="183985"/>
                </a:cubicBezTo>
                <a:cubicBezTo>
                  <a:pt x="1596479" y="116997"/>
                  <a:pt x="1647374" y="83503"/>
                  <a:pt x="1698269" y="83503"/>
                </a:cubicBezTo>
                <a:close/>
                <a:moveTo>
                  <a:pt x="6592" y="78970"/>
                </a:moveTo>
                <a:lnTo>
                  <a:pt x="181138" y="78970"/>
                </a:lnTo>
                <a:lnTo>
                  <a:pt x="181138" y="86007"/>
                </a:lnTo>
                <a:lnTo>
                  <a:pt x="88811" y="237698"/>
                </a:lnTo>
                <a:lnTo>
                  <a:pt x="181138" y="237698"/>
                </a:lnTo>
                <a:lnTo>
                  <a:pt x="181138" y="290894"/>
                </a:lnTo>
                <a:lnTo>
                  <a:pt x="0" y="290894"/>
                </a:lnTo>
                <a:lnTo>
                  <a:pt x="0" y="283858"/>
                </a:lnTo>
                <a:lnTo>
                  <a:pt x="93646" y="129978"/>
                </a:lnTo>
                <a:lnTo>
                  <a:pt x="6592" y="129978"/>
                </a:lnTo>
                <a:close/>
                <a:moveTo>
                  <a:pt x="1032311" y="74573"/>
                </a:moveTo>
                <a:cubicBezTo>
                  <a:pt x="1092779" y="74573"/>
                  <a:pt x="1142663" y="98818"/>
                  <a:pt x="1142663" y="98818"/>
                </a:cubicBezTo>
                <a:lnTo>
                  <a:pt x="1142663" y="278947"/>
                </a:lnTo>
                <a:cubicBezTo>
                  <a:pt x="1116693" y="282811"/>
                  <a:pt x="1093743" y="294879"/>
                  <a:pt x="1052970" y="295292"/>
                </a:cubicBezTo>
                <a:cubicBezTo>
                  <a:pt x="988346" y="295945"/>
                  <a:pt x="930746" y="270673"/>
                  <a:pt x="930746" y="188010"/>
                </a:cubicBezTo>
                <a:cubicBezTo>
                  <a:pt x="930746" y="114591"/>
                  <a:pt x="973391" y="74573"/>
                  <a:pt x="1032311" y="74573"/>
                </a:cubicBezTo>
                <a:close/>
                <a:moveTo>
                  <a:pt x="307499" y="74573"/>
                </a:moveTo>
                <a:cubicBezTo>
                  <a:pt x="367967" y="74573"/>
                  <a:pt x="417852" y="98818"/>
                  <a:pt x="417852" y="98818"/>
                </a:cubicBezTo>
                <a:lnTo>
                  <a:pt x="417852" y="278947"/>
                </a:lnTo>
                <a:cubicBezTo>
                  <a:pt x="391882" y="282811"/>
                  <a:pt x="368932" y="294879"/>
                  <a:pt x="328165" y="295292"/>
                </a:cubicBezTo>
                <a:cubicBezTo>
                  <a:pt x="263534" y="295945"/>
                  <a:pt x="205934" y="270673"/>
                  <a:pt x="205934" y="188010"/>
                </a:cubicBezTo>
                <a:cubicBezTo>
                  <a:pt x="205934" y="114591"/>
                  <a:pt x="248579" y="74573"/>
                  <a:pt x="307499" y="74573"/>
                </a:cubicBezTo>
                <a:close/>
                <a:moveTo>
                  <a:pt x="462153" y="7595"/>
                </a:moveTo>
                <a:lnTo>
                  <a:pt x="523268" y="7595"/>
                </a:lnTo>
                <a:lnTo>
                  <a:pt x="523268" y="84694"/>
                </a:lnTo>
                <a:cubicBezTo>
                  <a:pt x="540412" y="77651"/>
                  <a:pt x="557119" y="74573"/>
                  <a:pt x="572506" y="74573"/>
                </a:cubicBezTo>
                <a:cubicBezTo>
                  <a:pt x="631425" y="74135"/>
                  <a:pt x="674070" y="114591"/>
                  <a:pt x="674070" y="188010"/>
                </a:cubicBezTo>
                <a:cubicBezTo>
                  <a:pt x="674070" y="270673"/>
                  <a:pt x="616470" y="294613"/>
                  <a:pt x="551846" y="295292"/>
                </a:cubicBezTo>
                <a:cubicBezTo>
                  <a:pt x="515521" y="295672"/>
                  <a:pt x="492228" y="283249"/>
                  <a:pt x="462153" y="278585"/>
                </a:cubicBezTo>
                <a:close/>
                <a:moveTo>
                  <a:pt x="709926" y="7151"/>
                </a:moveTo>
                <a:lnTo>
                  <a:pt x="771041" y="7151"/>
                </a:lnTo>
                <a:lnTo>
                  <a:pt x="771041" y="156799"/>
                </a:lnTo>
                <a:lnTo>
                  <a:pt x="785990" y="156799"/>
                </a:lnTo>
                <a:cubicBezTo>
                  <a:pt x="834796" y="156799"/>
                  <a:pt x="847099" y="122497"/>
                  <a:pt x="847099" y="78970"/>
                </a:cubicBezTo>
                <a:lnTo>
                  <a:pt x="905144" y="78970"/>
                </a:lnTo>
                <a:cubicBezTo>
                  <a:pt x="906457" y="123817"/>
                  <a:pt x="896343" y="161189"/>
                  <a:pt x="854574" y="183181"/>
                </a:cubicBezTo>
                <a:lnTo>
                  <a:pt x="915251" y="284296"/>
                </a:lnTo>
                <a:lnTo>
                  <a:pt x="915251" y="290450"/>
                </a:lnTo>
                <a:lnTo>
                  <a:pt x="853260" y="290450"/>
                </a:lnTo>
                <a:lnTo>
                  <a:pt x="802697" y="202521"/>
                </a:lnTo>
                <a:cubicBezTo>
                  <a:pt x="797424" y="204278"/>
                  <a:pt x="791707" y="205160"/>
                  <a:pt x="785108" y="205160"/>
                </a:cubicBezTo>
                <a:lnTo>
                  <a:pt x="771041" y="205160"/>
                </a:lnTo>
                <a:lnTo>
                  <a:pt x="771041" y="290450"/>
                </a:lnTo>
                <a:lnTo>
                  <a:pt x="709926" y="290450"/>
                </a:lnTo>
                <a:close/>
                <a:moveTo>
                  <a:pt x="95842" y="0"/>
                </a:moveTo>
                <a:cubicBezTo>
                  <a:pt x="114578" y="0"/>
                  <a:pt x="129153" y="12075"/>
                  <a:pt x="129153" y="30805"/>
                </a:cubicBezTo>
                <a:cubicBezTo>
                  <a:pt x="129153" y="49130"/>
                  <a:pt x="114578" y="60786"/>
                  <a:pt x="95842" y="60786"/>
                </a:cubicBezTo>
                <a:cubicBezTo>
                  <a:pt x="77942" y="60786"/>
                  <a:pt x="63374" y="49130"/>
                  <a:pt x="63374" y="30805"/>
                </a:cubicBezTo>
                <a:cubicBezTo>
                  <a:pt x="63374" y="12075"/>
                  <a:pt x="77942" y="0"/>
                  <a:pt x="9584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180000" indent="0">
              <a:buNone/>
              <a:defRPr sz="100">
                <a:noFill/>
              </a:defRPr>
            </a:lvl2pPr>
            <a:lvl3pPr marL="360000" indent="0">
              <a:buNone/>
              <a:defRPr sz="100">
                <a:noFill/>
              </a:defRPr>
            </a:lvl3pPr>
            <a:lvl4pPr marL="540000" indent="0">
              <a:buNone/>
              <a:defRPr sz="100">
                <a:noFill/>
              </a:defRPr>
            </a:lvl4pPr>
            <a:lvl5pPr marL="720000" indent="0">
              <a:buNone/>
              <a:defRPr sz="100">
                <a:noFill/>
              </a:defRPr>
            </a:lvl5pPr>
          </a:lstStyle>
          <a:p>
            <a:pPr lvl="0"/>
            <a:r>
              <a:rPr lang="en-US" noProof="0"/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33959306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abel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99">
            <a:extLst>
              <a:ext uri="{FF2B5EF4-FFF2-40B4-BE49-F238E27FC236}">
                <a16:creationId xmlns:a16="http://schemas.microsoft.com/office/drawing/2014/main" id="{88F7AD10-D2EB-480F-B3BD-78A8B461A8DB}"/>
              </a:ext>
            </a:extLst>
          </p:cNvPr>
          <p:cNvSpPr/>
          <p:nvPr userDrawn="1"/>
        </p:nvSpPr>
        <p:spPr>
          <a:xfrm>
            <a:off x="515937" y="908051"/>
            <a:ext cx="11160126" cy="5551220"/>
          </a:xfrm>
          <a:prstGeom prst="roundRect">
            <a:avLst>
              <a:gd name="adj" fmla="val 1390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15" name="Table Placeholder 4">
            <a:extLst>
              <a:ext uri="{FF2B5EF4-FFF2-40B4-BE49-F238E27FC236}">
                <a16:creationId xmlns:a16="http://schemas.microsoft.com/office/drawing/2014/main" id="{322DDFEF-8DFC-424B-B557-B8E6ECEACE2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515938" y="908049"/>
            <a:ext cx="11160125" cy="5551220"/>
          </a:xfrm>
        </p:spPr>
        <p:txBody>
          <a:bodyPr lIns="144000" tIns="144000"/>
          <a:lstStyle>
            <a:lvl1pPr marL="0" indent="0">
              <a:buNone/>
              <a:defRPr/>
            </a:lvl1pPr>
          </a:lstStyle>
          <a:p>
            <a:r>
              <a:rPr lang="pl-PL"/>
              <a:t>Wstaw tabelę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41AE9E3-D623-497C-8EF2-77E9414706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b="1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26727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99">
            <a:extLst>
              <a:ext uri="{FF2B5EF4-FFF2-40B4-BE49-F238E27FC236}">
                <a16:creationId xmlns:a16="http://schemas.microsoft.com/office/drawing/2014/main" id="{0E3AA23A-8AAF-4E77-8C81-F68569376A85}"/>
              </a:ext>
            </a:extLst>
          </p:cNvPr>
          <p:cNvSpPr/>
          <p:nvPr userDrawn="1"/>
        </p:nvSpPr>
        <p:spPr>
          <a:xfrm>
            <a:off x="518935" y="908050"/>
            <a:ext cx="11160126" cy="393768"/>
          </a:xfrm>
          <a:prstGeom prst="roundRect">
            <a:avLst>
              <a:gd name="adj" fmla="val 1446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 fontScale="85000" lnSpcReduction="20000"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4C26D55-BA9A-4916-80A7-994E101E1E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0959" y="919757"/>
            <a:ext cx="10890082" cy="37035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5" name="object 299">
            <a:extLst>
              <a:ext uri="{FF2B5EF4-FFF2-40B4-BE49-F238E27FC236}">
                <a16:creationId xmlns:a16="http://schemas.microsoft.com/office/drawing/2014/main" id="{6B7055F8-A28B-4F96-8D31-3583EAB709D3}"/>
              </a:ext>
            </a:extLst>
          </p:cNvPr>
          <p:cNvSpPr/>
          <p:nvPr userDrawn="1"/>
        </p:nvSpPr>
        <p:spPr>
          <a:xfrm>
            <a:off x="515937" y="1376365"/>
            <a:ext cx="5543551" cy="5082905"/>
          </a:xfrm>
          <a:prstGeom prst="roundRect">
            <a:avLst>
              <a:gd name="adj" fmla="val 1484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2A2ABCBE-9C7B-45CD-82F2-93A9DAB4D8E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83851" y="1548647"/>
            <a:ext cx="5207722" cy="4738340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16000" indent="-216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36" name="object 299">
            <a:extLst>
              <a:ext uri="{FF2B5EF4-FFF2-40B4-BE49-F238E27FC236}">
                <a16:creationId xmlns:a16="http://schemas.microsoft.com/office/drawing/2014/main" id="{0EE6F615-04D7-41BC-A4AF-8D2FBE5057AC}"/>
              </a:ext>
            </a:extLst>
          </p:cNvPr>
          <p:cNvSpPr/>
          <p:nvPr userDrawn="1"/>
        </p:nvSpPr>
        <p:spPr>
          <a:xfrm>
            <a:off x="6132512" y="1376365"/>
            <a:ext cx="5543551" cy="5082905"/>
          </a:xfrm>
          <a:prstGeom prst="roundRect">
            <a:avLst>
              <a:gd name="adj" fmla="val 1484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42" name="Content Placeholder 41">
            <a:extLst>
              <a:ext uri="{FF2B5EF4-FFF2-40B4-BE49-F238E27FC236}">
                <a16:creationId xmlns:a16="http://schemas.microsoft.com/office/drawing/2014/main" id="{01C22DBF-8B28-4B80-8BE1-3EE7A0C35E4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32513" y="1376366"/>
            <a:ext cx="5543551" cy="5082905"/>
          </a:xfrm>
          <a:custGeom>
            <a:avLst/>
            <a:gdLst>
              <a:gd name="connsiteX0" fmla="*/ 75430 w 5543551"/>
              <a:gd name="connsiteY0" fmla="*/ 0 h 5082905"/>
              <a:gd name="connsiteX1" fmla="*/ 5468121 w 5543551"/>
              <a:gd name="connsiteY1" fmla="*/ 0 h 5082905"/>
              <a:gd name="connsiteX2" fmla="*/ 5543551 w 5543551"/>
              <a:gd name="connsiteY2" fmla="*/ 75430 h 5082905"/>
              <a:gd name="connsiteX3" fmla="*/ 5543551 w 5543551"/>
              <a:gd name="connsiteY3" fmla="*/ 5007475 h 5082905"/>
              <a:gd name="connsiteX4" fmla="*/ 5468121 w 5543551"/>
              <a:gd name="connsiteY4" fmla="*/ 5082905 h 5082905"/>
              <a:gd name="connsiteX5" fmla="*/ 75430 w 5543551"/>
              <a:gd name="connsiteY5" fmla="*/ 5082905 h 5082905"/>
              <a:gd name="connsiteX6" fmla="*/ 0 w 5543551"/>
              <a:gd name="connsiteY6" fmla="*/ 5007475 h 5082905"/>
              <a:gd name="connsiteX7" fmla="*/ 0 w 5543551"/>
              <a:gd name="connsiteY7" fmla="*/ 75430 h 5082905"/>
              <a:gd name="connsiteX8" fmla="*/ 75430 w 5543551"/>
              <a:gd name="connsiteY8" fmla="*/ 0 h 5082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5082905">
                <a:moveTo>
                  <a:pt x="75430" y="0"/>
                </a:moveTo>
                <a:lnTo>
                  <a:pt x="5468121" y="0"/>
                </a:lnTo>
                <a:cubicBezTo>
                  <a:pt x="5509780" y="0"/>
                  <a:pt x="5543551" y="33771"/>
                  <a:pt x="5543551" y="75430"/>
                </a:cubicBezTo>
                <a:lnTo>
                  <a:pt x="5543551" y="5007475"/>
                </a:lnTo>
                <a:cubicBezTo>
                  <a:pt x="5543551" y="5049134"/>
                  <a:pt x="5509780" y="5082905"/>
                  <a:pt x="5468121" y="5082905"/>
                </a:cubicBezTo>
                <a:lnTo>
                  <a:pt x="75430" y="5082905"/>
                </a:lnTo>
                <a:cubicBezTo>
                  <a:pt x="33771" y="5082905"/>
                  <a:pt x="0" y="5049134"/>
                  <a:pt x="0" y="5007475"/>
                </a:cubicBezTo>
                <a:lnTo>
                  <a:pt x="0" y="75430"/>
                </a:lnTo>
                <a:cubicBezTo>
                  <a:pt x="0" y="33771"/>
                  <a:pt x="33771" y="0"/>
                  <a:pt x="75430" y="0"/>
                </a:cubicBezTo>
                <a:close/>
              </a:path>
            </a:pathLst>
          </a:custGeom>
        </p:spPr>
        <p:txBody>
          <a:bodyPr wrap="square" lIns="144000" tIns="144000" anchor="t">
            <a:noAutofit/>
          </a:bodyPr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pl-PL"/>
              <a:t>Wstaw obra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A934D36-9DF6-4B17-A33F-E8577DF373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92495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094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389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object 299">
            <a:extLst>
              <a:ext uri="{FF2B5EF4-FFF2-40B4-BE49-F238E27FC236}">
                <a16:creationId xmlns:a16="http://schemas.microsoft.com/office/drawing/2014/main" id="{799730B0-7C22-4647-9E31-33EC0BC9C144}"/>
              </a:ext>
            </a:extLst>
          </p:cNvPr>
          <p:cNvSpPr/>
          <p:nvPr userDrawn="1"/>
        </p:nvSpPr>
        <p:spPr>
          <a:xfrm>
            <a:off x="515937" y="1376365"/>
            <a:ext cx="11160126" cy="5082905"/>
          </a:xfrm>
          <a:prstGeom prst="roundRect">
            <a:avLst>
              <a:gd name="adj" fmla="val 1390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19F10A0-ABA1-4618-A58D-9F6D9B9185F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5938" y="919757"/>
            <a:ext cx="11159121" cy="370355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FF438B5-EE80-4064-AAE8-711CA80D186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83850" y="1548647"/>
            <a:ext cx="10803299" cy="4738340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16000" indent="-216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EB26943-8203-4A51-9CC5-00EAEEB0E9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51128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094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389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99">
            <a:extLst>
              <a:ext uri="{FF2B5EF4-FFF2-40B4-BE49-F238E27FC236}">
                <a16:creationId xmlns:a16="http://schemas.microsoft.com/office/drawing/2014/main" id="{799730B0-7C22-4647-9E31-33EC0BC9C144}"/>
              </a:ext>
            </a:extLst>
          </p:cNvPr>
          <p:cNvSpPr/>
          <p:nvPr userDrawn="1"/>
        </p:nvSpPr>
        <p:spPr>
          <a:xfrm>
            <a:off x="515937" y="908051"/>
            <a:ext cx="11160126" cy="5551220"/>
          </a:xfrm>
          <a:prstGeom prst="roundRect">
            <a:avLst>
              <a:gd name="adj" fmla="val 1390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FF438B5-EE80-4064-AAE8-711CA80D186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83850" y="1031615"/>
            <a:ext cx="10803299" cy="5255372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16000" indent="-216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3491E40-F847-4FAC-BF98-D35F9C5A3C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47841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094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389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426CED7-FE3D-47C3-AE5A-812E7D0DFDDA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0B6131-21D5-4141-9F28-BFC0BDC167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73745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094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389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końcow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70643B6-7954-4513-856A-F0BDD694220D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3F8841-CEBC-49E6-9876-63BDAF4E33D6}"/>
              </a:ext>
            </a:extLst>
          </p:cNvPr>
          <p:cNvSpPr txBox="1"/>
          <p:nvPr userDrawn="1"/>
        </p:nvSpPr>
        <p:spPr>
          <a:xfrm>
            <a:off x="3440981" y="2320500"/>
            <a:ext cx="5310038" cy="1015663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0" indent="0" algn="ctr">
              <a:buNone/>
            </a:pPr>
            <a:r>
              <a:rPr lang="pl-PL" sz="6000" b="1">
                <a:solidFill>
                  <a:schemeClr val="accent1"/>
                </a:solidFill>
                <a:latin typeface="+mj-lt"/>
              </a:rPr>
              <a:t>Dziękujemy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2E5C94D4-C490-44BA-8751-E070057EEF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3776" y="2827452"/>
            <a:ext cx="2511424" cy="2502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648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094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389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91FECFA-6562-4977-B2D7-77C5F1DFD622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C106E05-D472-4A33-9504-D9279580B94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774704"/>
            <a:ext cx="7013575" cy="5724525"/>
          </a:xfrm>
          <a:custGeom>
            <a:avLst/>
            <a:gdLst>
              <a:gd name="connsiteX0" fmla="*/ 0 w 7013575"/>
              <a:gd name="connsiteY0" fmla="*/ 0 h 5724525"/>
              <a:gd name="connsiteX1" fmla="*/ 6916716 w 7013575"/>
              <a:gd name="connsiteY1" fmla="*/ 0 h 5724525"/>
              <a:gd name="connsiteX2" fmla="*/ 7013575 w 7013575"/>
              <a:gd name="connsiteY2" fmla="*/ 96859 h 5724525"/>
              <a:gd name="connsiteX3" fmla="*/ 7013575 w 7013575"/>
              <a:gd name="connsiteY3" fmla="*/ 5627666 h 5724525"/>
              <a:gd name="connsiteX4" fmla="*/ 6916716 w 7013575"/>
              <a:gd name="connsiteY4" fmla="*/ 5724525 h 5724525"/>
              <a:gd name="connsiteX5" fmla="*/ 0 w 7013575"/>
              <a:gd name="connsiteY5" fmla="*/ 5724525 h 572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13575" h="5724525">
                <a:moveTo>
                  <a:pt x="0" y="0"/>
                </a:moveTo>
                <a:lnTo>
                  <a:pt x="6916716" y="0"/>
                </a:lnTo>
                <a:cubicBezTo>
                  <a:pt x="6970210" y="0"/>
                  <a:pt x="7013575" y="43365"/>
                  <a:pt x="7013575" y="96859"/>
                </a:cubicBezTo>
                <a:lnTo>
                  <a:pt x="7013575" y="5627666"/>
                </a:lnTo>
                <a:cubicBezTo>
                  <a:pt x="7013575" y="5681160"/>
                  <a:pt x="6970210" y="5724525"/>
                  <a:pt x="6916716" y="5724525"/>
                </a:cubicBezTo>
                <a:lnTo>
                  <a:pt x="0" y="5724525"/>
                </a:lnTo>
                <a:close/>
              </a:path>
            </a:pathLst>
          </a:custGeom>
          <a:solidFill>
            <a:schemeClr val="bg1"/>
          </a:solidFill>
          <a:effectLst>
            <a:outerShdw blurRad="165100" dist="76200" dir="40800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44000" tIns="144000" rIns="144000" bIns="144000" rtlCol="0">
            <a:noAutofit/>
          </a:bodyPr>
          <a:lstStyle>
            <a:lvl1pPr marL="0" indent="0">
              <a:buNone/>
              <a:defRPr lang="en-GB" sz="2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  <a:endParaRPr lang="en-GB"/>
          </a:p>
        </p:txBody>
      </p:sp>
      <p:sp>
        <p:nvSpPr>
          <p:cNvPr id="390" name="Text Placeholder 389">
            <a:extLst>
              <a:ext uri="{FF2B5EF4-FFF2-40B4-BE49-F238E27FC236}">
                <a16:creationId xmlns:a16="http://schemas.microsoft.com/office/drawing/2014/main" id="{56AA8022-34E0-4FBC-8B1A-2941CD03FC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1877" y="1752601"/>
            <a:ext cx="5699123" cy="3790950"/>
          </a:xfrm>
          <a:prstGeom prst="roundRect">
            <a:avLst>
              <a:gd name="adj" fmla="val 1564"/>
            </a:avLst>
          </a:prstGeom>
          <a:solidFill>
            <a:schemeClr val="bg1"/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180000" indent="0">
              <a:buNone/>
              <a:defRPr sz="100">
                <a:noFill/>
              </a:defRPr>
            </a:lvl2pPr>
            <a:lvl3pPr marL="360000" indent="0">
              <a:buNone/>
              <a:defRPr sz="100">
                <a:noFill/>
              </a:defRPr>
            </a:lvl3pPr>
            <a:lvl4pPr marL="540000" indent="0">
              <a:buNone/>
              <a:defRPr sz="100">
                <a:noFill/>
              </a:defRPr>
            </a:lvl4pPr>
            <a:lvl5pPr marL="720000" indent="0">
              <a:buNone/>
              <a:defRPr sz="100">
                <a:noFill/>
              </a:defRPr>
            </a:lvl5pPr>
          </a:lstStyle>
          <a:p>
            <a:pPr lvl="0"/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252C9B-D625-43A3-9FC1-B016BBD488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2300" y="2741614"/>
            <a:ext cx="3978277" cy="1857372"/>
          </a:xfrm>
        </p:spPr>
        <p:txBody>
          <a:bodyPr anchor="ctr">
            <a:no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Wprowadź tytuł slajdu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A58C7B-6FA6-4602-A62F-D19DCB5C66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2300" y="4794250"/>
            <a:ext cx="3978277" cy="384174"/>
          </a:xfrm>
        </p:spPr>
        <p:txBody>
          <a:bodyPr anchor="b">
            <a:noAutofit/>
          </a:bodyPr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Wprowadź podtytuł</a:t>
            </a:r>
            <a:endParaRPr lang="en-GB"/>
          </a:p>
        </p:txBody>
      </p:sp>
      <p:sp>
        <p:nvSpPr>
          <p:cNvPr id="387" name="Text Placeholder 386">
            <a:extLst>
              <a:ext uri="{FF2B5EF4-FFF2-40B4-BE49-F238E27FC236}">
                <a16:creationId xmlns:a16="http://schemas.microsoft.com/office/drawing/2014/main" id="{2BC182F4-E88C-4C5A-B357-882EC1E038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7942" y="2178395"/>
            <a:ext cx="2259427" cy="444152"/>
          </a:xfrm>
          <a:custGeom>
            <a:avLst/>
            <a:gdLst>
              <a:gd name="connsiteX0" fmla="*/ 204906 w 2259427"/>
              <a:gd name="connsiteY0" fmla="*/ 315259 h 444152"/>
              <a:gd name="connsiteX1" fmla="*/ 443917 w 2259427"/>
              <a:gd name="connsiteY1" fmla="*/ 382238 h 444152"/>
              <a:gd name="connsiteX2" fmla="*/ 682903 w 2259427"/>
              <a:gd name="connsiteY2" fmla="*/ 315285 h 444152"/>
              <a:gd name="connsiteX3" fmla="*/ 692598 w 2259427"/>
              <a:gd name="connsiteY3" fmla="*/ 361388 h 444152"/>
              <a:gd name="connsiteX4" fmla="*/ 443917 w 2259427"/>
              <a:gd name="connsiteY4" fmla="*/ 444152 h 444152"/>
              <a:gd name="connsiteX5" fmla="*/ 195211 w 2259427"/>
              <a:gd name="connsiteY5" fmla="*/ 361362 h 444152"/>
              <a:gd name="connsiteX6" fmla="*/ 1042863 w 2259427"/>
              <a:gd name="connsiteY6" fmla="*/ 124255 h 444152"/>
              <a:gd name="connsiteX7" fmla="*/ 992299 w 2259427"/>
              <a:gd name="connsiteY7" fmla="*/ 188010 h 444152"/>
              <a:gd name="connsiteX8" fmla="*/ 1045940 w 2259427"/>
              <a:gd name="connsiteY8" fmla="*/ 245604 h 444152"/>
              <a:gd name="connsiteX9" fmla="*/ 1082868 w 2259427"/>
              <a:gd name="connsiteY9" fmla="*/ 240331 h 444152"/>
              <a:gd name="connsiteX10" fmla="*/ 1082868 w 2259427"/>
              <a:gd name="connsiteY10" fmla="*/ 132814 h 444152"/>
              <a:gd name="connsiteX11" fmla="*/ 1042863 w 2259427"/>
              <a:gd name="connsiteY11" fmla="*/ 124255 h 444152"/>
              <a:gd name="connsiteX12" fmla="*/ 561960 w 2259427"/>
              <a:gd name="connsiteY12" fmla="*/ 124255 h 444152"/>
              <a:gd name="connsiteX13" fmla="*/ 521948 w 2259427"/>
              <a:gd name="connsiteY13" fmla="*/ 135251 h 444152"/>
              <a:gd name="connsiteX14" fmla="*/ 521948 w 2259427"/>
              <a:gd name="connsiteY14" fmla="*/ 240331 h 444152"/>
              <a:gd name="connsiteX15" fmla="*/ 558883 w 2259427"/>
              <a:gd name="connsiteY15" fmla="*/ 245604 h 444152"/>
              <a:gd name="connsiteX16" fmla="*/ 612517 w 2259427"/>
              <a:gd name="connsiteY16" fmla="*/ 188010 h 444152"/>
              <a:gd name="connsiteX17" fmla="*/ 561960 w 2259427"/>
              <a:gd name="connsiteY17" fmla="*/ 124255 h 444152"/>
              <a:gd name="connsiteX18" fmla="*/ 318051 w 2259427"/>
              <a:gd name="connsiteY18" fmla="*/ 124255 h 444152"/>
              <a:gd name="connsiteX19" fmla="*/ 267487 w 2259427"/>
              <a:gd name="connsiteY19" fmla="*/ 188010 h 444152"/>
              <a:gd name="connsiteX20" fmla="*/ 321128 w 2259427"/>
              <a:gd name="connsiteY20" fmla="*/ 245604 h 444152"/>
              <a:gd name="connsiteX21" fmla="*/ 358063 w 2259427"/>
              <a:gd name="connsiteY21" fmla="*/ 240331 h 444152"/>
              <a:gd name="connsiteX22" fmla="*/ 358063 w 2259427"/>
              <a:gd name="connsiteY22" fmla="*/ 132814 h 444152"/>
              <a:gd name="connsiteX23" fmla="*/ 318051 w 2259427"/>
              <a:gd name="connsiteY23" fmla="*/ 124255 h 444152"/>
              <a:gd name="connsiteX24" fmla="*/ 1321088 w 2259427"/>
              <a:gd name="connsiteY24" fmla="*/ 103821 h 444152"/>
              <a:gd name="connsiteX25" fmla="*/ 1236597 w 2259427"/>
              <a:gd name="connsiteY25" fmla="*/ 185495 h 444152"/>
              <a:gd name="connsiteX26" fmla="*/ 1311430 w 2259427"/>
              <a:gd name="connsiteY26" fmla="*/ 270791 h 444152"/>
              <a:gd name="connsiteX27" fmla="*/ 1378218 w 2259427"/>
              <a:gd name="connsiteY27" fmla="*/ 245442 h 444152"/>
              <a:gd name="connsiteX28" fmla="*/ 1378218 w 2259427"/>
              <a:gd name="connsiteY28" fmla="*/ 116296 h 444152"/>
              <a:gd name="connsiteX29" fmla="*/ 1321088 w 2259427"/>
              <a:gd name="connsiteY29" fmla="*/ 103821 h 444152"/>
              <a:gd name="connsiteX30" fmla="*/ 2168103 w 2259427"/>
              <a:gd name="connsiteY30" fmla="*/ 102196 h 444152"/>
              <a:gd name="connsiteX31" fmla="*/ 2096887 w 2259427"/>
              <a:gd name="connsiteY31" fmla="*/ 176223 h 444152"/>
              <a:gd name="connsiteX32" fmla="*/ 2096887 w 2259427"/>
              <a:gd name="connsiteY32" fmla="*/ 240999 h 444152"/>
              <a:gd name="connsiteX33" fmla="*/ 2239713 w 2259427"/>
              <a:gd name="connsiteY33" fmla="*/ 185074 h 444152"/>
              <a:gd name="connsiteX34" fmla="*/ 2168103 w 2259427"/>
              <a:gd name="connsiteY34" fmla="*/ 102196 h 444152"/>
              <a:gd name="connsiteX35" fmla="*/ 1698272 w 2259427"/>
              <a:gd name="connsiteY35" fmla="*/ 101001 h 444152"/>
              <a:gd name="connsiteX36" fmla="*/ 1615793 w 2259427"/>
              <a:gd name="connsiteY36" fmla="*/ 183985 h 444152"/>
              <a:gd name="connsiteX37" fmla="*/ 1780751 w 2259427"/>
              <a:gd name="connsiteY37" fmla="*/ 183985 h 444152"/>
              <a:gd name="connsiteX38" fmla="*/ 1698272 w 2259427"/>
              <a:gd name="connsiteY38" fmla="*/ 101001 h 444152"/>
              <a:gd name="connsiteX39" fmla="*/ 1841552 w 2259427"/>
              <a:gd name="connsiteY39" fmla="*/ 88927 h 444152"/>
              <a:gd name="connsiteX40" fmla="*/ 1860866 w 2259427"/>
              <a:gd name="connsiteY40" fmla="*/ 88927 h 444152"/>
              <a:gd name="connsiteX41" fmla="*/ 1860866 w 2259427"/>
              <a:gd name="connsiteY41" fmla="*/ 206811 h 444152"/>
              <a:gd name="connsiteX42" fmla="*/ 1924031 w 2259427"/>
              <a:gd name="connsiteY42" fmla="*/ 269170 h 444152"/>
              <a:gd name="connsiteX43" fmla="*/ 1985590 w 2259427"/>
              <a:gd name="connsiteY43" fmla="*/ 203588 h 444152"/>
              <a:gd name="connsiteX44" fmla="*/ 1985590 w 2259427"/>
              <a:gd name="connsiteY44" fmla="*/ 88927 h 444152"/>
              <a:gd name="connsiteX45" fmla="*/ 2004905 w 2259427"/>
              <a:gd name="connsiteY45" fmla="*/ 88927 h 444152"/>
              <a:gd name="connsiteX46" fmla="*/ 2004905 w 2259427"/>
              <a:gd name="connsiteY46" fmla="*/ 233365 h 444152"/>
              <a:gd name="connsiteX47" fmla="*/ 2029441 w 2259427"/>
              <a:gd name="connsiteY47" fmla="*/ 267565 h 444152"/>
              <a:gd name="connsiteX48" fmla="*/ 2029847 w 2259427"/>
              <a:gd name="connsiteY48" fmla="*/ 283656 h 444152"/>
              <a:gd name="connsiteX49" fmla="*/ 1987602 w 2259427"/>
              <a:gd name="connsiteY49" fmla="*/ 252273 h 444152"/>
              <a:gd name="connsiteX50" fmla="*/ 1919608 w 2259427"/>
              <a:gd name="connsiteY50" fmla="*/ 287279 h 444152"/>
              <a:gd name="connsiteX51" fmla="*/ 1841552 w 2259427"/>
              <a:gd name="connsiteY51" fmla="*/ 206811 h 444152"/>
              <a:gd name="connsiteX52" fmla="*/ 1322293 w 2259427"/>
              <a:gd name="connsiteY52" fmla="*/ 84913 h 444152"/>
              <a:gd name="connsiteX53" fmla="*/ 1397126 w 2259427"/>
              <a:gd name="connsiteY53" fmla="*/ 103422 h 444152"/>
              <a:gd name="connsiteX54" fmla="*/ 1397126 w 2259427"/>
              <a:gd name="connsiteY54" fmla="*/ 300162 h 444152"/>
              <a:gd name="connsiteX55" fmla="*/ 1309819 w 2259427"/>
              <a:gd name="connsiteY55" fmla="*/ 389881 h 444152"/>
              <a:gd name="connsiteX56" fmla="*/ 1230563 w 2259427"/>
              <a:gd name="connsiteY56" fmla="*/ 368155 h 444152"/>
              <a:gd name="connsiteX57" fmla="*/ 1235392 w 2259427"/>
              <a:gd name="connsiteY57" fmla="*/ 350453 h 444152"/>
              <a:gd name="connsiteX58" fmla="*/ 1309819 w 2259427"/>
              <a:gd name="connsiteY58" fmla="*/ 371778 h 444152"/>
              <a:gd name="connsiteX59" fmla="*/ 1378218 w 2259427"/>
              <a:gd name="connsiteY59" fmla="*/ 300162 h 444152"/>
              <a:gd name="connsiteX60" fmla="*/ 1378218 w 2259427"/>
              <a:gd name="connsiteY60" fmla="*/ 265962 h 444152"/>
              <a:gd name="connsiteX61" fmla="*/ 1310225 w 2259427"/>
              <a:gd name="connsiteY61" fmla="*/ 288087 h 444152"/>
              <a:gd name="connsiteX62" fmla="*/ 1217283 w 2259427"/>
              <a:gd name="connsiteY62" fmla="*/ 185495 h 444152"/>
              <a:gd name="connsiteX63" fmla="*/ 1322293 w 2259427"/>
              <a:gd name="connsiteY63" fmla="*/ 84913 h 444152"/>
              <a:gd name="connsiteX64" fmla="*/ 1537958 w 2259427"/>
              <a:gd name="connsiteY64" fmla="*/ 84905 h 444152"/>
              <a:gd name="connsiteX65" fmla="*/ 1587443 w 2259427"/>
              <a:gd name="connsiteY65" fmla="*/ 100196 h 444152"/>
              <a:gd name="connsiteX66" fmla="*/ 1580603 w 2259427"/>
              <a:gd name="connsiteY66" fmla="*/ 117093 h 444152"/>
              <a:gd name="connsiteX67" fmla="*/ 1536347 w 2259427"/>
              <a:gd name="connsiteY67" fmla="*/ 103813 h 444152"/>
              <a:gd name="connsiteX68" fmla="*/ 1479622 w 2259427"/>
              <a:gd name="connsiteY68" fmla="*/ 157327 h 444152"/>
              <a:gd name="connsiteX69" fmla="*/ 1479622 w 2259427"/>
              <a:gd name="connsiteY69" fmla="*/ 282851 h 444152"/>
              <a:gd name="connsiteX70" fmla="*/ 1460308 w 2259427"/>
              <a:gd name="connsiteY70" fmla="*/ 282851 h 444152"/>
              <a:gd name="connsiteX71" fmla="*/ 1460308 w 2259427"/>
              <a:gd name="connsiteY71" fmla="*/ 133584 h 444152"/>
              <a:gd name="connsiteX72" fmla="*/ 1435366 w 2259427"/>
              <a:gd name="connsiteY72" fmla="*/ 105824 h 444152"/>
              <a:gd name="connsiteX73" fmla="*/ 1434560 w 2259427"/>
              <a:gd name="connsiteY73" fmla="*/ 89334 h 444152"/>
              <a:gd name="connsiteX74" fmla="*/ 1478816 w 2259427"/>
              <a:gd name="connsiteY74" fmla="*/ 114676 h 444152"/>
              <a:gd name="connsiteX75" fmla="*/ 1537958 w 2259427"/>
              <a:gd name="connsiteY75" fmla="*/ 84905 h 444152"/>
              <a:gd name="connsiteX76" fmla="*/ 2171320 w 2259427"/>
              <a:gd name="connsiteY76" fmla="*/ 84093 h 444152"/>
              <a:gd name="connsiteX77" fmla="*/ 2259427 w 2259427"/>
              <a:gd name="connsiteY77" fmla="*/ 185074 h 444152"/>
              <a:gd name="connsiteX78" fmla="*/ 2096887 w 2259427"/>
              <a:gd name="connsiteY78" fmla="*/ 261113 h 444152"/>
              <a:gd name="connsiteX79" fmla="*/ 2096887 w 2259427"/>
              <a:gd name="connsiteY79" fmla="*/ 383020 h 444152"/>
              <a:gd name="connsiteX80" fmla="*/ 2077978 w 2259427"/>
              <a:gd name="connsiteY80" fmla="*/ 383020 h 444152"/>
              <a:gd name="connsiteX81" fmla="*/ 2077978 w 2259427"/>
              <a:gd name="connsiteY81" fmla="*/ 148057 h 444152"/>
              <a:gd name="connsiteX82" fmla="*/ 2053036 w 2259427"/>
              <a:gd name="connsiteY82" fmla="*/ 103001 h 444152"/>
              <a:gd name="connsiteX83" fmla="*/ 2052230 w 2259427"/>
              <a:gd name="connsiteY83" fmla="*/ 86904 h 444152"/>
              <a:gd name="connsiteX84" fmla="*/ 2094475 w 2259427"/>
              <a:gd name="connsiteY84" fmla="*/ 122309 h 444152"/>
              <a:gd name="connsiteX85" fmla="*/ 2094475 w 2259427"/>
              <a:gd name="connsiteY85" fmla="*/ 127944 h 444152"/>
              <a:gd name="connsiteX86" fmla="*/ 2171320 w 2259427"/>
              <a:gd name="connsiteY86" fmla="*/ 84093 h 444152"/>
              <a:gd name="connsiteX87" fmla="*/ 1698269 w 2259427"/>
              <a:gd name="connsiteY87" fmla="*/ 83503 h 444152"/>
              <a:gd name="connsiteX88" fmla="*/ 1800059 w 2259427"/>
              <a:gd name="connsiteY88" fmla="*/ 183985 h 444152"/>
              <a:gd name="connsiteX89" fmla="*/ 1596479 w 2259427"/>
              <a:gd name="connsiteY89" fmla="*/ 183985 h 444152"/>
              <a:gd name="connsiteX90" fmla="*/ 1698269 w 2259427"/>
              <a:gd name="connsiteY90" fmla="*/ 83503 h 444152"/>
              <a:gd name="connsiteX91" fmla="*/ 6592 w 2259427"/>
              <a:gd name="connsiteY91" fmla="*/ 78970 h 444152"/>
              <a:gd name="connsiteX92" fmla="*/ 181138 w 2259427"/>
              <a:gd name="connsiteY92" fmla="*/ 78970 h 444152"/>
              <a:gd name="connsiteX93" fmla="*/ 181138 w 2259427"/>
              <a:gd name="connsiteY93" fmla="*/ 86007 h 444152"/>
              <a:gd name="connsiteX94" fmla="*/ 88811 w 2259427"/>
              <a:gd name="connsiteY94" fmla="*/ 237698 h 444152"/>
              <a:gd name="connsiteX95" fmla="*/ 181138 w 2259427"/>
              <a:gd name="connsiteY95" fmla="*/ 237698 h 444152"/>
              <a:gd name="connsiteX96" fmla="*/ 181138 w 2259427"/>
              <a:gd name="connsiteY96" fmla="*/ 290894 h 444152"/>
              <a:gd name="connsiteX97" fmla="*/ 0 w 2259427"/>
              <a:gd name="connsiteY97" fmla="*/ 290894 h 444152"/>
              <a:gd name="connsiteX98" fmla="*/ 0 w 2259427"/>
              <a:gd name="connsiteY98" fmla="*/ 283858 h 444152"/>
              <a:gd name="connsiteX99" fmla="*/ 93646 w 2259427"/>
              <a:gd name="connsiteY99" fmla="*/ 129978 h 444152"/>
              <a:gd name="connsiteX100" fmla="*/ 6592 w 2259427"/>
              <a:gd name="connsiteY100" fmla="*/ 129978 h 444152"/>
              <a:gd name="connsiteX101" fmla="*/ 1032311 w 2259427"/>
              <a:gd name="connsiteY101" fmla="*/ 74573 h 444152"/>
              <a:gd name="connsiteX102" fmla="*/ 1142663 w 2259427"/>
              <a:gd name="connsiteY102" fmla="*/ 98818 h 444152"/>
              <a:gd name="connsiteX103" fmla="*/ 1142663 w 2259427"/>
              <a:gd name="connsiteY103" fmla="*/ 278947 h 444152"/>
              <a:gd name="connsiteX104" fmla="*/ 1052970 w 2259427"/>
              <a:gd name="connsiteY104" fmla="*/ 295292 h 444152"/>
              <a:gd name="connsiteX105" fmla="*/ 930746 w 2259427"/>
              <a:gd name="connsiteY105" fmla="*/ 188010 h 444152"/>
              <a:gd name="connsiteX106" fmla="*/ 1032311 w 2259427"/>
              <a:gd name="connsiteY106" fmla="*/ 74573 h 444152"/>
              <a:gd name="connsiteX107" fmla="*/ 307499 w 2259427"/>
              <a:gd name="connsiteY107" fmla="*/ 74573 h 444152"/>
              <a:gd name="connsiteX108" fmla="*/ 417852 w 2259427"/>
              <a:gd name="connsiteY108" fmla="*/ 98818 h 444152"/>
              <a:gd name="connsiteX109" fmla="*/ 417852 w 2259427"/>
              <a:gd name="connsiteY109" fmla="*/ 278947 h 444152"/>
              <a:gd name="connsiteX110" fmla="*/ 328165 w 2259427"/>
              <a:gd name="connsiteY110" fmla="*/ 295292 h 444152"/>
              <a:gd name="connsiteX111" fmla="*/ 205934 w 2259427"/>
              <a:gd name="connsiteY111" fmla="*/ 188010 h 444152"/>
              <a:gd name="connsiteX112" fmla="*/ 307499 w 2259427"/>
              <a:gd name="connsiteY112" fmla="*/ 74573 h 444152"/>
              <a:gd name="connsiteX113" fmla="*/ 462153 w 2259427"/>
              <a:gd name="connsiteY113" fmla="*/ 7595 h 444152"/>
              <a:gd name="connsiteX114" fmla="*/ 523268 w 2259427"/>
              <a:gd name="connsiteY114" fmla="*/ 7595 h 444152"/>
              <a:gd name="connsiteX115" fmla="*/ 523268 w 2259427"/>
              <a:gd name="connsiteY115" fmla="*/ 84694 h 444152"/>
              <a:gd name="connsiteX116" fmla="*/ 572506 w 2259427"/>
              <a:gd name="connsiteY116" fmla="*/ 74573 h 444152"/>
              <a:gd name="connsiteX117" fmla="*/ 674070 w 2259427"/>
              <a:gd name="connsiteY117" fmla="*/ 188010 h 444152"/>
              <a:gd name="connsiteX118" fmla="*/ 551846 w 2259427"/>
              <a:gd name="connsiteY118" fmla="*/ 295292 h 444152"/>
              <a:gd name="connsiteX119" fmla="*/ 462153 w 2259427"/>
              <a:gd name="connsiteY119" fmla="*/ 278585 h 444152"/>
              <a:gd name="connsiteX120" fmla="*/ 709926 w 2259427"/>
              <a:gd name="connsiteY120" fmla="*/ 7151 h 444152"/>
              <a:gd name="connsiteX121" fmla="*/ 771041 w 2259427"/>
              <a:gd name="connsiteY121" fmla="*/ 7151 h 444152"/>
              <a:gd name="connsiteX122" fmla="*/ 771041 w 2259427"/>
              <a:gd name="connsiteY122" fmla="*/ 156799 h 444152"/>
              <a:gd name="connsiteX123" fmla="*/ 785990 w 2259427"/>
              <a:gd name="connsiteY123" fmla="*/ 156799 h 444152"/>
              <a:gd name="connsiteX124" fmla="*/ 847099 w 2259427"/>
              <a:gd name="connsiteY124" fmla="*/ 78970 h 444152"/>
              <a:gd name="connsiteX125" fmla="*/ 905144 w 2259427"/>
              <a:gd name="connsiteY125" fmla="*/ 78970 h 444152"/>
              <a:gd name="connsiteX126" fmla="*/ 854574 w 2259427"/>
              <a:gd name="connsiteY126" fmla="*/ 183181 h 444152"/>
              <a:gd name="connsiteX127" fmla="*/ 915251 w 2259427"/>
              <a:gd name="connsiteY127" fmla="*/ 284296 h 444152"/>
              <a:gd name="connsiteX128" fmla="*/ 915251 w 2259427"/>
              <a:gd name="connsiteY128" fmla="*/ 290450 h 444152"/>
              <a:gd name="connsiteX129" fmla="*/ 853260 w 2259427"/>
              <a:gd name="connsiteY129" fmla="*/ 290450 h 444152"/>
              <a:gd name="connsiteX130" fmla="*/ 802697 w 2259427"/>
              <a:gd name="connsiteY130" fmla="*/ 202521 h 444152"/>
              <a:gd name="connsiteX131" fmla="*/ 785108 w 2259427"/>
              <a:gd name="connsiteY131" fmla="*/ 205160 h 444152"/>
              <a:gd name="connsiteX132" fmla="*/ 771041 w 2259427"/>
              <a:gd name="connsiteY132" fmla="*/ 205160 h 444152"/>
              <a:gd name="connsiteX133" fmla="*/ 771041 w 2259427"/>
              <a:gd name="connsiteY133" fmla="*/ 290450 h 444152"/>
              <a:gd name="connsiteX134" fmla="*/ 709926 w 2259427"/>
              <a:gd name="connsiteY134" fmla="*/ 290450 h 444152"/>
              <a:gd name="connsiteX135" fmla="*/ 95842 w 2259427"/>
              <a:gd name="connsiteY135" fmla="*/ 0 h 444152"/>
              <a:gd name="connsiteX136" fmla="*/ 129153 w 2259427"/>
              <a:gd name="connsiteY136" fmla="*/ 30805 h 444152"/>
              <a:gd name="connsiteX137" fmla="*/ 95842 w 2259427"/>
              <a:gd name="connsiteY137" fmla="*/ 60786 h 444152"/>
              <a:gd name="connsiteX138" fmla="*/ 63374 w 2259427"/>
              <a:gd name="connsiteY138" fmla="*/ 30805 h 444152"/>
              <a:gd name="connsiteX139" fmla="*/ 95842 w 2259427"/>
              <a:gd name="connsiteY139" fmla="*/ 0 h 444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2259427" h="444152">
                <a:moveTo>
                  <a:pt x="204906" y="315259"/>
                </a:moveTo>
                <a:cubicBezTo>
                  <a:pt x="273084" y="357505"/>
                  <a:pt x="355379" y="382238"/>
                  <a:pt x="443917" y="382238"/>
                </a:cubicBezTo>
                <a:cubicBezTo>
                  <a:pt x="532449" y="382238"/>
                  <a:pt x="614725" y="357511"/>
                  <a:pt x="682903" y="315285"/>
                </a:cubicBezTo>
                <a:lnTo>
                  <a:pt x="692598" y="361388"/>
                </a:lnTo>
                <a:cubicBezTo>
                  <a:pt x="623196" y="413347"/>
                  <a:pt x="537088" y="444152"/>
                  <a:pt x="443917" y="444152"/>
                </a:cubicBezTo>
                <a:cubicBezTo>
                  <a:pt x="350734" y="444152"/>
                  <a:pt x="264613" y="413335"/>
                  <a:pt x="195211" y="361362"/>
                </a:cubicBezTo>
                <a:close/>
                <a:moveTo>
                  <a:pt x="1042863" y="124255"/>
                </a:moveTo>
                <a:cubicBezTo>
                  <a:pt x="1014284" y="125581"/>
                  <a:pt x="992299" y="140524"/>
                  <a:pt x="992299" y="188010"/>
                </a:cubicBezTo>
                <a:cubicBezTo>
                  <a:pt x="992299" y="231099"/>
                  <a:pt x="1014722" y="245166"/>
                  <a:pt x="1045940" y="245604"/>
                </a:cubicBezTo>
                <a:cubicBezTo>
                  <a:pt x="1057367" y="246041"/>
                  <a:pt x="1069677" y="243852"/>
                  <a:pt x="1082868" y="240331"/>
                </a:cubicBezTo>
                <a:lnTo>
                  <a:pt x="1082868" y="132814"/>
                </a:lnTo>
                <a:cubicBezTo>
                  <a:pt x="1068446" y="126349"/>
                  <a:pt x="1055166" y="123817"/>
                  <a:pt x="1042863" y="124255"/>
                </a:cubicBezTo>
                <a:close/>
                <a:moveTo>
                  <a:pt x="561960" y="124255"/>
                </a:moveTo>
                <a:cubicBezTo>
                  <a:pt x="549651" y="123817"/>
                  <a:pt x="536015" y="127332"/>
                  <a:pt x="521948" y="135251"/>
                </a:cubicBezTo>
                <a:lnTo>
                  <a:pt x="521948" y="240331"/>
                </a:lnTo>
                <a:cubicBezTo>
                  <a:pt x="535133" y="243852"/>
                  <a:pt x="547449" y="246041"/>
                  <a:pt x="558883" y="245604"/>
                </a:cubicBezTo>
                <a:cubicBezTo>
                  <a:pt x="590094" y="245166"/>
                  <a:pt x="612517" y="231099"/>
                  <a:pt x="612517" y="188010"/>
                </a:cubicBezTo>
                <a:cubicBezTo>
                  <a:pt x="612517" y="140524"/>
                  <a:pt x="590538" y="125581"/>
                  <a:pt x="561960" y="124255"/>
                </a:cubicBezTo>
                <a:close/>
                <a:moveTo>
                  <a:pt x="318051" y="124255"/>
                </a:moveTo>
                <a:cubicBezTo>
                  <a:pt x="289473" y="125581"/>
                  <a:pt x="267487" y="140524"/>
                  <a:pt x="267487" y="188010"/>
                </a:cubicBezTo>
                <a:cubicBezTo>
                  <a:pt x="267487" y="231099"/>
                  <a:pt x="289911" y="245166"/>
                  <a:pt x="321128" y="245604"/>
                </a:cubicBezTo>
                <a:cubicBezTo>
                  <a:pt x="332556" y="246041"/>
                  <a:pt x="344865" y="243852"/>
                  <a:pt x="358063" y="240331"/>
                </a:cubicBezTo>
                <a:lnTo>
                  <a:pt x="358063" y="132814"/>
                </a:lnTo>
                <a:cubicBezTo>
                  <a:pt x="343634" y="126349"/>
                  <a:pt x="330360" y="123817"/>
                  <a:pt x="318051" y="124255"/>
                </a:cubicBezTo>
                <a:close/>
                <a:moveTo>
                  <a:pt x="1321088" y="103821"/>
                </a:moveTo>
                <a:cubicBezTo>
                  <a:pt x="1270797" y="103821"/>
                  <a:pt x="1236597" y="130375"/>
                  <a:pt x="1236597" y="185495"/>
                </a:cubicBezTo>
                <a:cubicBezTo>
                  <a:pt x="1236597" y="244637"/>
                  <a:pt x="1271197" y="270791"/>
                  <a:pt x="1311430" y="270791"/>
                </a:cubicBezTo>
                <a:cubicBezTo>
                  <a:pt x="1333555" y="270791"/>
                  <a:pt x="1356893" y="262745"/>
                  <a:pt x="1378218" y="245442"/>
                </a:cubicBezTo>
                <a:lnTo>
                  <a:pt x="1378218" y="116296"/>
                </a:lnTo>
                <a:cubicBezTo>
                  <a:pt x="1358504" y="107844"/>
                  <a:pt x="1339590" y="103821"/>
                  <a:pt x="1321088" y="103821"/>
                </a:cubicBezTo>
                <a:close/>
                <a:moveTo>
                  <a:pt x="2168103" y="102196"/>
                </a:moveTo>
                <a:cubicBezTo>
                  <a:pt x="2125458" y="102196"/>
                  <a:pt x="2098098" y="135589"/>
                  <a:pt x="2096887" y="176223"/>
                </a:cubicBezTo>
                <a:lnTo>
                  <a:pt x="2096887" y="240999"/>
                </a:lnTo>
                <a:cubicBezTo>
                  <a:pt x="2156029" y="290484"/>
                  <a:pt x="2239713" y="267953"/>
                  <a:pt x="2239713" y="185074"/>
                </a:cubicBezTo>
                <a:cubicBezTo>
                  <a:pt x="2239713" y="141624"/>
                  <a:pt x="2215577" y="102196"/>
                  <a:pt x="2168103" y="102196"/>
                </a:cubicBezTo>
                <a:close/>
                <a:moveTo>
                  <a:pt x="1698272" y="101001"/>
                </a:moveTo>
                <a:cubicBezTo>
                  <a:pt x="1657033" y="101001"/>
                  <a:pt x="1615793" y="128662"/>
                  <a:pt x="1615793" y="183985"/>
                </a:cubicBezTo>
                <a:cubicBezTo>
                  <a:pt x="1615793" y="293824"/>
                  <a:pt x="1780751" y="294623"/>
                  <a:pt x="1780751" y="183985"/>
                </a:cubicBezTo>
                <a:cubicBezTo>
                  <a:pt x="1780751" y="128662"/>
                  <a:pt x="1739511" y="101001"/>
                  <a:pt x="1698272" y="101001"/>
                </a:cubicBezTo>
                <a:close/>
                <a:moveTo>
                  <a:pt x="1841552" y="88927"/>
                </a:moveTo>
                <a:lnTo>
                  <a:pt x="1860866" y="88927"/>
                </a:lnTo>
                <a:lnTo>
                  <a:pt x="1860866" y="206811"/>
                </a:lnTo>
                <a:cubicBezTo>
                  <a:pt x="1860866" y="245433"/>
                  <a:pt x="1886614" y="269170"/>
                  <a:pt x="1924031" y="269170"/>
                </a:cubicBezTo>
                <a:cubicBezTo>
                  <a:pt x="1962659" y="269576"/>
                  <a:pt x="1985590" y="243822"/>
                  <a:pt x="1985590" y="203588"/>
                </a:cubicBezTo>
                <a:lnTo>
                  <a:pt x="1985590" y="88927"/>
                </a:lnTo>
                <a:lnTo>
                  <a:pt x="2004905" y="88927"/>
                </a:lnTo>
                <a:lnTo>
                  <a:pt x="2004905" y="233365"/>
                </a:lnTo>
                <a:cubicBezTo>
                  <a:pt x="2004905" y="264342"/>
                  <a:pt x="2008122" y="270782"/>
                  <a:pt x="2029441" y="267565"/>
                </a:cubicBezTo>
                <a:lnTo>
                  <a:pt x="2029847" y="283656"/>
                </a:lnTo>
                <a:cubicBezTo>
                  <a:pt x="2000476" y="288078"/>
                  <a:pt x="1987602" y="283250"/>
                  <a:pt x="1987602" y="252273"/>
                </a:cubicBezTo>
                <a:cubicBezTo>
                  <a:pt x="1969493" y="279227"/>
                  <a:pt x="1950185" y="287279"/>
                  <a:pt x="1919608" y="287279"/>
                </a:cubicBezTo>
                <a:cubicBezTo>
                  <a:pt x="1870523" y="287279"/>
                  <a:pt x="1841552" y="253479"/>
                  <a:pt x="1841552" y="206811"/>
                </a:cubicBezTo>
                <a:close/>
                <a:moveTo>
                  <a:pt x="1322293" y="84913"/>
                </a:moveTo>
                <a:cubicBezTo>
                  <a:pt x="1349253" y="85313"/>
                  <a:pt x="1373390" y="92559"/>
                  <a:pt x="1397126" y="103422"/>
                </a:cubicBezTo>
                <a:lnTo>
                  <a:pt x="1397126" y="300162"/>
                </a:lnTo>
                <a:cubicBezTo>
                  <a:pt x="1397126" y="362927"/>
                  <a:pt x="1356893" y="389475"/>
                  <a:pt x="1309819" y="389881"/>
                </a:cubicBezTo>
                <a:cubicBezTo>
                  <a:pt x="1283671" y="390280"/>
                  <a:pt x="1255505" y="382641"/>
                  <a:pt x="1230563" y="368155"/>
                </a:cubicBezTo>
                <a:lnTo>
                  <a:pt x="1235392" y="350453"/>
                </a:lnTo>
                <a:cubicBezTo>
                  <a:pt x="1258322" y="363726"/>
                  <a:pt x="1285283" y="371778"/>
                  <a:pt x="1309819" y="371778"/>
                </a:cubicBezTo>
                <a:cubicBezTo>
                  <a:pt x="1347235" y="371778"/>
                  <a:pt x="1378218" y="352064"/>
                  <a:pt x="1378218" y="300162"/>
                </a:cubicBezTo>
                <a:lnTo>
                  <a:pt x="1378218" y="265962"/>
                </a:lnTo>
                <a:cubicBezTo>
                  <a:pt x="1355687" y="280848"/>
                  <a:pt x="1332756" y="287688"/>
                  <a:pt x="1310225" y="288087"/>
                </a:cubicBezTo>
                <a:cubicBezTo>
                  <a:pt x="1259934" y="289299"/>
                  <a:pt x="1217283" y="255100"/>
                  <a:pt x="1217283" y="185495"/>
                </a:cubicBezTo>
                <a:cubicBezTo>
                  <a:pt x="1217283" y="118707"/>
                  <a:pt x="1261539" y="84913"/>
                  <a:pt x="1322293" y="84913"/>
                </a:cubicBezTo>
                <a:close/>
                <a:moveTo>
                  <a:pt x="1537958" y="84905"/>
                </a:moveTo>
                <a:cubicBezTo>
                  <a:pt x="1556866" y="85311"/>
                  <a:pt x="1574569" y="90939"/>
                  <a:pt x="1587443" y="100196"/>
                </a:cubicBezTo>
                <a:lnTo>
                  <a:pt x="1580603" y="117093"/>
                </a:lnTo>
                <a:cubicBezTo>
                  <a:pt x="1568135" y="107836"/>
                  <a:pt x="1552038" y="103813"/>
                  <a:pt x="1536347" y="103813"/>
                </a:cubicBezTo>
                <a:cubicBezTo>
                  <a:pt x="1507382" y="103813"/>
                  <a:pt x="1479622" y="124333"/>
                  <a:pt x="1479622" y="157327"/>
                </a:cubicBezTo>
                <a:lnTo>
                  <a:pt x="1479622" y="282851"/>
                </a:lnTo>
                <a:lnTo>
                  <a:pt x="1460308" y="282851"/>
                </a:lnTo>
                <a:lnTo>
                  <a:pt x="1460308" y="133584"/>
                </a:lnTo>
                <a:cubicBezTo>
                  <a:pt x="1460308" y="114676"/>
                  <a:pt x="1459908" y="102607"/>
                  <a:pt x="1435366" y="105824"/>
                </a:cubicBezTo>
                <a:lnTo>
                  <a:pt x="1434560" y="89334"/>
                </a:lnTo>
                <a:cubicBezTo>
                  <a:pt x="1465536" y="84099"/>
                  <a:pt x="1478816" y="92145"/>
                  <a:pt x="1478816" y="114676"/>
                </a:cubicBezTo>
                <a:cubicBezTo>
                  <a:pt x="1491690" y="91745"/>
                  <a:pt x="1515427" y="83699"/>
                  <a:pt x="1537958" y="84905"/>
                </a:cubicBezTo>
                <a:close/>
                <a:moveTo>
                  <a:pt x="2171320" y="84093"/>
                </a:moveTo>
                <a:cubicBezTo>
                  <a:pt x="2228051" y="84093"/>
                  <a:pt x="2259427" y="131567"/>
                  <a:pt x="2259427" y="185074"/>
                </a:cubicBezTo>
                <a:cubicBezTo>
                  <a:pt x="2259427" y="277211"/>
                  <a:pt x="2167297" y="313422"/>
                  <a:pt x="2096887" y="261113"/>
                </a:cubicBezTo>
                <a:lnTo>
                  <a:pt x="2096887" y="383020"/>
                </a:lnTo>
                <a:lnTo>
                  <a:pt x="2077978" y="383020"/>
                </a:lnTo>
                <a:lnTo>
                  <a:pt x="2077978" y="148057"/>
                </a:lnTo>
                <a:cubicBezTo>
                  <a:pt x="2077978" y="118693"/>
                  <a:pt x="2080396" y="98573"/>
                  <a:pt x="2053036" y="103001"/>
                </a:cubicBezTo>
                <a:lnTo>
                  <a:pt x="2052230" y="86904"/>
                </a:lnTo>
                <a:cubicBezTo>
                  <a:pt x="2084419" y="81676"/>
                  <a:pt x="2094475" y="95356"/>
                  <a:pt x="2094475" y="122309"/>
                </a:cubicBezTo>
                <a:lnTo>
                  <a:pt x="2094475" y="127944"/>
                </a:lnTo>
                <a:cubicBezTo>
                  <a:pt x="2110167" y="95755"/>
                  <a:pt x="2137526" y="84093"/>
                  <a:pt x="2171320" y="84093"/>
                </a:cubicBezTo>
                <a:close/>
                <a:moveTo>
                  <a:pt x="1698269" y="83503"/>
                </a:moveTo>
                <a:cubicBezTo>
                  <a:pt x="1749164" y="83503"/>
                  <a:pt x="1800059" y="116997"/>
                  <a:pt x="1800059" y="183985"/>
                </a:cubicBezTo>
                <a:cubicBezTo>
                  <a:pt x="1800059" y="317560"/>
                  <a:pt x="1596479" y="317560"/>
                  <a:pt x="1596479" y="183985"/>
                </a:cubicBezTo>
                <a:cubicBezTo>
                  <a:pt x="1596479" y="116997"/>
                  <a:pt x="1647374" y="83503"/>
                  <a:pt x="1698269" y="83503"/>
                </a:cubicBezTo>
                <a:close/>
                <a:moveTo>
                  <a:pt x="6592" y="78970"/>
                </a:moveTo>
                <a:lnTo>
                  <a:pt x="181138" y="78970"/>
                </a:lnTo>
                <a:lnTo>
                  <a:pt x="181138" y="86007"/>
                </a:lnTo>
                <a:lnTo>
                  <a:pt x="88811" y="237698"/>
                </a:lnTo>
                <a:lnTo>
                  <a:pt x="181138" y="237698"/>
                </a:lnTo>
                <a:lnTo>
                  <a:pt x="181138" y="290894"/>
                </a:lnTo>
                <a:lnTo>
                  <a:pt x="0" y="290894"/>
                </a:lnTo>
                <a:lnTo>
                  <a:pt x="0" y="283858"/>
                </a:lnTo>
                <a:lnTo>
                  <a:pt x="93646" y="129978"/>
                </a:lnTo>
                <a:lnTo>
                  <a:pt x="6592" y="129978"/>
                </a:lnTo>
                <a:close/>
                <a:moveTo>
                  <a:pt x="1032311" y="74573"/>
                </a:moveTo>
                <a:cubicBezTo>
                  <a:pt x="1092779" y="74573"/>
                  <a:pt x="1142663" y="98818"/>
                  <a:pt x="1142663" y="98818"/>
                </a:cubicBezTo>
                <a:lnTo>
                  <a:pt x="1142663" y="278947"/>
                </a:lnTo>
                <a:cubicBezTo>
                  <a:pt x="1116693" y="282811"/>
                  <a:pt x="1093743" y="294879"/>
                  <a:pt x="1052970" y="295292"/>
                </a:cubicBezTo>
                <a:cubicBezTo>
                  <a:pt x="988346" y="295945"/>
                  <a:pt x="930746" y="270673"/>
                  <a:pt x="930746" y="188010"/>
                </a:cubicBezTo>
                <a:cubicBezTo>
                  <a:pt x="930746" y="114591"/>
                  <a:pt x="973391" y="74573"/>
                  <a:pt x="1032311" y="74573"/>
                </a:cubicBezTo>
                <a:close/>
                <a:moveTo>
                  <a:pt x="307499" y="74573"/>
                </a:moveTo>
                <a:cubicBezTo>
                  <a:pt x="367967" y="74573"/>
                  <a:pt x="417852" y="98818"/>
                  <a:pt x="417852" y="98818"/>
                </a:cubicBezTo>
                <a:lnTo>
                  <a:pt x="417852" y="278947"/>
                </a:lnTo>
                <a:cubicBezTo>
                  <a:pt x="391882" y="282811"/>
                  <a:pt x="368932" y="294879"/>
                  <a:pt x="328165" y="295292"/>
                </a:cubicBezTo>
                <a:cubicBezTo>
                  <a:pt x="263534" y="295945"/>
                  <a:pt x="205934" y="270673"/>
                  <a:pt x="205934" y="188010"/>
                </a:cubicBezTo>
                <a:cubicBezTo>
                  <a:pt x="205934" y="114591"/>
                  <a:pt x="248579" y="74573"/>
                  <a:pt x="307499" y="74573"/>
                </a:cubicBezTo>
                <a:close/>
                <a:moveTo>
                  <a:pt x="462153" y="7595"/>
                </a:moveTo>
                <a:lnTo>
                  <a:pt x="523268" y="7595"/>
                </a:lnTo>
                <a:lnTo>
                  <a:pt x="523268" y="84694"/>
                </a:lnTo>
                <a:cubicBezTo>
                  <a:pt x="540412" y="77651"/>
                  <a:pt x="557119" y="74573"/>
                  <a:pt x="572506" y="74573"/>
                </a:cubicBezTo>
                <a:cubicBezTo>
                  <a:pt x="631425" y="74135"/>
                  <a:pt x="674070" y="114591"/>
                  <a:pt x="674070" y="188010"/>
                </a:cubicBezTo>
                <a:cubicBezTo>
                  <a:pt x="674070" y="270673"/>
                  <a:pt x="616470" y="294613"/>
                  <a:pt x="551846" y="295292"/>
                </a:cubicBezTo>
                <a:cubicBezTo>
                  <a:pt x="515521" y="295672"/>
                  <a:pt x="492228" y="283249"/>
                  <a:pt x="462153" y="278585"/>
                </a:cubicBezTo>
                <a:close/>
                <a:moveTo>
                  <a:pt x="709926" y="7151"/>
                </a:moveTo>
                <a:lnTo>
                  <a:pt x="771041" y="7151"/>
                </a:lnTo>
                <a:lnTo>
                  <a:pt x="771041" y="156799"/>
                </a:lnTo>
                <a:lnTo>
                  <a:pt x="785990" y="156799"/>
                </a:lnTo>
                <a:cubicBezTo>
                  <a:pt x="834796" y="156799"/>
                  <a:pt x="847099" y="122497"/>
                  <a:pt x="847099" y="78970"/>
                </a:cubicBezTo>
                <a:lnTo>
                  <a:pt x="905144" y="78970"/>
                </a:lnTo>
                <a:cubicBezTo>
                  <a:pt x="906457" y="123817"/>
                  <a:pt x="896343" y="161189"/>
                  <a:pt x="854574" y="183181"/>
                </a:cubicBezTo>
                <a:lnTo>
                  <a:pt x="915251" y="284296"/>
                </a:lnTo>
                <a:lnTo>
                  <a:pt x="915251" y="290450"/>
                </a:lnTo>
                <a:lnTo>
                  <a:pt x="853260" y="290450"/>
                </a:lnTo>
                <a:lnTo>
                  <a:pt x="802697" y="202521"/>
                </a:lnTo>
                <a:cubicBezTo>
                  <a:pt x="797424" y="204278"/>
                  <a:pt x="791707" y="205160"/>
                  <a:pt x="785108" y="205160"/>
                </a:cubicBezTo>
                <a:lnTo>
                  <a:pt x="771041" y="205160"/>
                </a:lnTo>
                <a:lnTo>
                  <a:pt x="771041" y="290450"/>
                </a:lnTo>
                <a:lnTo>
                  <a:pt x="709926" y="290450"/>
                </a:lnTo>
                <a:close/>
                <a:moveTo>
                  <a:pt x="95842" y="0"/>
                </a:moveTo>
                <a:cubicBezTo>
                  <a:pt x="114578" y="0"/>
                  <a:pt x="129153" y="12075"/>
                  <a:pt x="129153" y="30805"/>
                </a:cubicBezTo>
                <a:cubicBezTo>
                  <a:pt x="129153" y="49130"/>
                  <a:pt x="114578" y="60786"/>
                  <a:pt x="95842" y="60786"/>
                </a:cubicBezTo>
                <a:cubicBezTo>
                  <a:pt x="77942" y="60786"/>
                  <a:pt x="63374" y="49130"/>
                  <a:pt x="63374" y="30805"/>
                </a:cubicBezTo>
                <a:cubicBezTo>
                  <a:pt x="63374" y="12075"/>
                  <a:pt x="77942" y="0"/>
                  <a:pt x="9584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180000" indent="0">
              <a:buNone/>
              <a:defRPr sz="100">
                <a:noFill/>
              </a:defRPr>
            </a:lvl2pPr>
            <a:lvl3pPr marL="360000" indent="0">
              <a:buNone/>
              <a:defRPr sz="100">
                <a:noFill/>
              </a:defRPr>
            </a:lvl3pPr>
            <a:lvl4pPr marL="540000" indent="0">
              <a:buNone/>
              <a:defRPr sz="100">
                <a:noFill/>
              </a:defRPr>
            </a:lvl4pPr>
            <a:lvl5pPr marL="720000" indent="0">
              <a:buNone/>
              <a:defRPr sz="100">
                <a:noFill/>
              </a:defRPr>
            </a:lvl5pPr>
          </a:lstStyle>
          <a:p>
            <a:pPr lvl="0"/>
            <a:r>
              <a:rPr lang="en-US" noProof="0"/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12998910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C3CE6DB-C656-4101-8D67-49CEE94C0385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9DFD98D-29B2-4D41-ACE3-A5B4DA00AF8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Wstaw zdjęcie</a:t>
            </a:r>
            <a:endParaRPr lang="en-GB"/>
          </a:p>
        </p:txBody>
      </p:sp>
      <p:sp>
        <p:nvSpPr>
          <p:cNvPr id="390" name="Text Placeholder 389">
            <a:extLst>
              <a:ext uri="{FF2B5EF4-FFF2-40B4-BE49-F238E27FC236}">
                <a16:creationId xmlns:a16="http://schemas.microsoft.com/office/drawing/2014/main" id="{56AA8022-34E0-4FBC-8B1A-2941CD03FC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43628" y="1733549"/>
            <a:ext cx="6048372" cy="3798889"/>
          </a:xfrm>
          <a:custGeom>
            <a:avLst/>
            <a:gdLst>
              <a:gd name="connsiteX0" fmla="*/ 90224 w 6048372"/>
              <a:gd name="connsiteY0" fmla="*/ 0 h 3798889"/>
              <a:gd name="connsiteX1" fmla="*/ 6048372 w 6048372"/>
              <a:gd name="connsiteY1" fmla="*/ 0 h 3798889"/>
              <a:gd name="connsiteX2" fmla="*/ 6048372 w 6048372"/>
              <a:gd name="connsiteY2" fmla="*/ 3798889 h 3798889"/>
              <a:gd name="connsiteX3" fmla="*/ 90224 w 6048372"/>
              <a:gd name="connsiteY3" fmla="*/ 3798889 h 3798889"/>
              <a:gd name="connsiteX4" fmla="*/ 0 w 6048372"/>
              <a:gd name="connsiteY4" fmla="*/ 3708665 h 3798889"/>
              <a:gd name="connsiteX5" fmla="*/ 0 w 6048372"/>
              <a:gd name="connsiteY5" fmla="*/ 90224 h 3798889"/>
              <a:gd name="connsiteX6" fmla="*/ 90224 w 6048372"/>
              <a:gd name="connsiteY6" fmla="*/ 0 h 379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8372" h="3798889">
                <a:moveTo>
                  <a:pt x="90224" y="0"/>
                </a:moveTo>
                <a:lnTo>
                  <a:pt x="6048372" y="0"/>
                </a:lnTo>
                <a:lnTo>
                  <a:pt x="6048372" y="3798889"/>
                </a:lnTo>
                <a:lnTo>
                  <a:pt x="90224" y="3798889"/>
                </a:lnTo>
                <a:cubicBezTo>
                  <a:pt x="40395" y="3798889"/>
                  <a:pt x="0" y="3758494"/>
                  <a:pt x="0" y="3708665"/>
                </a:cubicBezTo>
                <a:lnTo>
                  <a:pt x="0" y="90224"/>
                </a:lnTo>
                <a:cubicBezTo>
                  <a:pt x="0" y="40395"/>
                  <a:pt x="40395" y="0"/>
                  <a:pt x="90224" y="0"/>
                </a:cubicBezTo>
                <a:close/>
              </a:path>
            </a:pathLst>
          </a:custGeom>
          <a:solidFill>
            <a:schemeClr val="tx2">
              <a:alpha val="91000"/>
            </a:schemeClr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252C9B-D625-43A3-9FC1-B016BBD488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2300" y="2741614"/>
            <a:ext cx="4400550" cy="1857372"/>
          </a:xfrm>
        </p:spPr>
        <p:txBody>
          <a:bodyPr anchor="ctr">
            <a:noAutofit/>
          </a:bodyPr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r>
              <a:rPr lang="en-US"/>
              <a:t> </a:t>
            </a:r>
            <a:r>
              <a:rPr lang="en-US" err="1"/>
              <a:t>slajdu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A58C7B-6FA6-4602-A62F-D19DCB5C66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2300" y="4794250"/>
            <a:ext cx="4400550" cy="384174"/>
          </a:xfrm>
        </p:spPr>
        <p:txBody>
          <a:bodyPr anchor="b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podtytuł</a:t>
            </a:r>
            <a:endParaRPr lang="en-US"/>
          </a:p>
        </p:txBody>
      </p:sp>
      <p:sp>
        <p:nvSpPr>
          <p:cNvPr id="387" name="Text Placeholder 386">
            <a:extLst>
              <a:ext uri="{FF2B5EF4-FFF2-40B4-BE49-F238E27FC236}">
                <a16:creationId xmlns:a16="http://schemas.microsoft.com/office/drawing/2014/main" id="{2BC182F4-E88C-4C5A-B357-882EC1E038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7942" y="2178395"/>
            <a:ext cx="2259427" cy="444152"/>
          </a:xfrm>
          <a:custGeom>
            <a:avLst/>
            <a:gdLst>
              <a:gd name="connsiteX0" fmla="*/ 204906 w 2259427"/>
              <a:gd name="connsiteY0" fmla="*/ 315259 h 444152"/>
              <a:gd name="connsiteX1" fmla="*/ 443917 w 2259427"/>
              <a:gd name="connsiteY1" fmla="*/ 382238 h 444152"/>
              <a:gd name="connsiteX2" fmla="*/ 682903 w 2259427"/>
              <a:gd name="connsiteY2" fmla="*/ 315285 h 444152"/>
              <a:gd name="connsiteX3" fmla="*/ 692598 w 2259427"/>
              <a:gd name="connsiteY3" fmla="*/ 361388 h 444152"/>
              <a:gd name="connsiteX4" fmla="*/ 443917 w 2259427"/>
              <a:gd name="connsiteY4" fmla="*/ 444152 h 444152"/>
              <a:gd name="connsiteX5" fmla="*/ 195211 w 2259427"/>
              <a:gd name="connsiteY5" fmla="*/ 361362 h 444152"/>
              <a:gd name="connsiteX6" fmla="*/ 1042863 w 2259427"/>
              <a:gd name="connsiteY6" fmla="*/ 124255 h 444152"/>
              <a:gd name="connsiteX7" fmla="*/ 992299 w 2259427"/>
              <a:gd name="connsiteY7" fmla="*/ 188010 h 444152"/>
              <a:gd name="connsiteX8" fmla="*/ 1045940 w 2259427"/>
              <a:gd name="connsiteY8" fmla="*/ 245604 h 444152"/>
              <a:gd name="connsiteX9" fmla="*/ 1082868 w 2259427"/>
              <a:gd name="connsiteY9" fmla="*/ 240331 h 444152"/>
              <a:gd name="connsiteX10" fmla="*/ 1082868 w 2259427"/>
              <a:gd name="connsiteY10" fmla="*/ 132814 h 444152"/>
              <a:gd name="connsiteX11" fmla="*/ 1042863 w 2259427"/>
              <a:gd name="connsiteY11" fmla="*/ 124255 h 444152"/>
              <a:gd name="connsiteX12" fmla="*/ 561960 w 2259427"/>
              <a:gd name="connsiteY12" fmla="*/ 124255 h 444152"/>
              <a:gd name="connsiteX13" fmla="*/ 521948 w 2259427"/>
              <a:gd name="connsiteY13" fmla="*/ 135251 h 444152"/>
              <a:gd name="connsiteX14" fmla="*/ 521948 w 2259427"/>
              <a:gd name="connsiteY14" fmla="*/ 240331 h 444152"/>
              <a:gd name="connsiteX15" fmla="*/ 558883 w 2259427"/>
              <a:gd name="connsiteY15" fmla="*/ 245604 h 444152"/>
              <a:gd name="connsiteX16" fmla="*/ 612517 w 2259427"/>
              <a:gd name="connsiteY16" fmla="*/ 188010 h 444152"/>
              <a:gd name="connsiteX17" fmla="*/ 561960 w 2259427"/>
              <a:gd name="connsiteY17" fmla="*/ 124255 h 444152"/>
              <a:gd name="connsiteX18" fmla="*/ 318051 w 2259427"/>
              <a:gd name="connsiteY18" fmla="*/ 124255 h 444152"/>
              <a:gd name="connsiteX19" fmla="*/ 267487 w 2259427"/>
              <a:gd name="connsiteY19" fmla="*/ 188010 h 444152"/>
              <a:gd name="connsiteX20" fmla="*/ 321128 w 2259427"/>
              <a:gd name="connsiteY20" fmla="*/ 245604 h 444152"/>
              <a:gd name="connsiteX21" fmla="*/ 358063 w 2259427"/>
              <a:gd name="connsiteY21" fmla="*/ 240331 h 444152"/>
              <a:gd name="connsiteX22" fmla="*/ 358063 w 2259427"/>
              <a:gd name="connsiteY22" fmla="*/ 132814 h 444152"/>
              <a:gd name="connsiteX23" fmla="*/ 318051 w 2259427"/>
              <a:gd name="connsiteY23" fmla="*/ 124255 h 444152"/>
              <a:gd name="connsiteX24" fmla="*/ 1321088 w 2259427"/>
              <a:gd name="connsiteY24" fmla="*/ 103821 h 444152"/>
              <a:gd name="connsiteX25" fmla="*/ 1236597 w 2259427"/>
              <a:gd name="connsiteY25" fmla="*/ 185495 h 444152"/>
              <a:gd name="connsiteX26" fmla="*/ 1311430 w 2259427"/>
              <a:gd name="connsiteY26" fmla="*/ 270791 h 444152"/>
              <a:gd name="connsiteX27" fmla="*/ 1378218 w 2259427"/>
              <a:gd name="connsiteY27" fmla="*/ 245442 h 444152"/>
              <a:gd name="connsiteX28" fmla="*/ 1378218 w 2259427"/>
              <a:gd name="connsiteY28" fmla="*/ 116296 h 444152"/>
              <a:gd name="connsiteX29" fmla="*/ 1321088 w 2259427"/>
              <a:gd name="connsiteY29" fmla="*/ 103821 h 444152"/>
              <a:gd name="connsiteX30" fmla="*/ 2168103 w 2259427"/>
              <a:gd name="connsiteY30" fmla="*/ 102196 h 444152"/>
              <a:gd name="connsiteX31" fmla="*/ 2096887 w 2259427"/>
              <a:gd name="connsiteY31" fmla="*/ 176223 h 444152"/>
              <a:gd name="connsiteX32" fmla="*/ 2096887 w 2259427"/>
              <a:gd name="connsiteY32" fmla="*/ 240999 h 444152"/>
              <a:gd name="connsiteX33" fmla="*/ 2239713 w 2259427"/>
              <a:gd name="connsiteY33" fmla="*/ 185074 h 444152"/>
              <a:gd name="connsiteX34" fmla="*/ 2168103 w 2259427"/>
              <a:gd name="connsiteY34" fmla="*/ 102196 h 444152"/>
              <a:gd name="connsiteX35" fmla="*/ 1698272 w 2259427"/>
              <a:gd name="connsiteY35" fmla="*/ 101001 h 444152"/>
              <a:gd name="connsiteX36" fmla="*/ 1615793 w 2259427"/>
              <a:gd name="connsiteY36" fmla="*/ 183985 h 444152"/>
              <a:gd name="connsiteX37" fmla="*/ 1780751 w 2259427"/>
              <a:gd name="connsiteY37" fmla="*/ 183985 h 444152"/>
              <a:gd name="connsiteX38" fmla="*/ 1698272 w 2259427"/>
              <a:gd name="connsiteY38" fmla="*/ 101001 h 444152"/>
              <a:gd name="connsiteX39" fmla="*/ 1841552 w 2259427"/>
              <a:gd name="connsiteY39" fmla="*/ 88927 h 444152"/>
              <a:gd name="connsiteX40" fmla="*/ 1860866 w 2259427"/>
              <a:gd name="connsiteY40" fmla="*/ 88927 h 444152"/>
              <a:gd name="connsiteX41" fmla="*/ 1860866 w 2259427"/>
              <a:gd name="connsiteY41" fmla="*/ 206811 h 444152"/>
              <a:gd name="connsiteX42" fmla="*/ 1924031 w 2259427"/>
              <a:gd name="connsiteY42" fmla="*/ 269170 h 444152"/>
              <a:gd name="connsiteX43" fmla="*/ 1985590 w 2259427"/>
              <a:gd name="connsiteY43" fmla="*/ 203588 h 444152"/>
              <a:gd name="connsiteX44" fmla="*/ 1985590 w 2259427"/>
              <a:gd name="connsiteY44" fmla="*/ 88927 h 444152"/>
              <a:gd name="connsiteX45" fmla="*/ 2004905 w 2259427"/>
              <a:gd name="connsiteY45" fmla="*/ 88927 h 444152"/>
              <a:gd name="connsiteX46" fmla="*/ 2004905 w 2259427"/>
              <a:gd name="connsiteY46" fmla="*/ 233365 h 444152"/>
              <a:gd name="connsiteX47" fmla="*/ 2029441 w 2259427"/>
              <a:gd name="connsiteY47" fmla="*/ 267565 h 444152"/>
              <a:gd name="connsiteX48" fmla="*/ 2029847 w 2259427"/>
              <a:gd name="connsiteY48" fmla="*/ 283656 h 444152"/>
              <a:gd name="connsiteX49" fmla="*/ 1987602 w 2259427"/>
              <a:gd name="connsiteY49" fmla="*/ 252273 h 444152"/>
              <a:gd name="connsiteX50" fmla="*/ 1919608 w 2259427"/>
              <a:gd name="connsiteY50" fmla="*/ 287279 h 444152"/>
              <a:gd name="connsiteX51" fmla="*/ 1841552 w 2259427"/>
              <a:gd name="connsiteY51" fmla="*/ 206811 h 444152"/>
              <a:gd name="connsiteX52" fmla="*/ 1322293 w 2259427"/>
              <a:gd name="connsiteY52" fmla="*/ 84913 h 444152"/>
              <a:gd name="connsiteX53" fmla="*/ 1397126 w 2259427"/>
              <a:gd name="connsiteY53" fmla="*/ 103422 h 444152"/>
              <a:gd name="connsiteX54" fmla="*/ 1397126 w 2259427"/>
              <a:gd name="connsiteY54" fmla="*/ 300162 h 444152"/>
              <a:gd name="connsiteX55" fmla="*/ 1309819 w 2259427"/>
              <a:gd name="connsiteY55" fmla="*/ 389881 h 444152"/>
              <a:gd name="connsiteX56" fmla="*/ 1230563 w 2259427"/>
              <a:gd name="connsiteY56" fmla="*/ 368155 h 444152"/>
              <a:gd name="connsiteX57" fmla="*/ 1235392 w 2259427"/>
              <a:gd name="connsiteY57" fmla="*/ 350453 h 444152"/>
              <a:gd name="connsiteX58" fmla="*/ 1309819 w 2259427"/>
              <a:gd name="connsiteY58" fmla="*/ 371778 h 444152"/>
              <a:gd name="connsiteX59" fmla="*/ 1378218 w 2259427"/>
              <a:gd name="connsiteY59" fmla="*/ 300162 h 444152"/>
              <a:gd name="connsiteX60" fmla="*/ 1378218 w 2259427"/>
              <a:gd name="connsiteY60" fmla="*/ 265962 h 444152"/>
              <a:gd name="connsiteX61" fmla="*/ 1310225 w 2259427"/>
              <a:gd name="connsiteY61" fmla="*/ 288087 h 444152"/>
              <a:gd name="connsiteX62" fmla="*/ 1217283 w 2259427"/>
              <a:gd name="connsiteY62" fmla="*/ 185495 h 444152"/>
              <a:gd name="connsiteX63" fmla="*/ 1322293 w 2259427"/>
              <a:gd name="connsiteY63" fmla="*/ 84913 h 444152"/>
              <a:gd name="connsiteX64" fmla="*/ 1537958 w 2259427"/>
              <a:gd name="connsiteY64" fmla="*/ 84905 h 444152"/>
              <a:gd name="connsiteX65" fmla="*/ 1587443 w 2259427"/>
              <a:gd name="connsiteY65" fmla="*/ 100196 h 444152"/>
              <a:gd name="connsiteX66" fmla="*/ 1580603 w 2259427"/>
              <a:gd name="connsiteY66" fmla="*/ 117093 h 444152"/>
              <a:gd name="connsiteX67" fmla="*/ 1536347 w 2259427"/>
              <a:gd name="connsiteY67" fmla="*/ 103813 h 444152"/>
              <a:gd name="connsiteX68" fmla="*/ 1479622 w 2259427"/>
              <a:gd name="connsiteY68" fmla="*/ 157327 h 444152"/>
              <a:gd name="connsiteX69" fmla="*/ 1479622 w 2259427"/>
              <a:gd name="connsiteY69" fmla="*/ 282851 h 444152"/>
              <a:gd name="connsiteX70" fmla="*/ 1460308 w 2259427"/>
              <a:gd name="connsiteY70" fmla="*/ 282851 h 444152"/>
              <a:gd name="connsiteX71" fmla="*/ 1460308 w 2259427"/>
              <a:gd name="connsiteY71" fmla="*/ 133584 h 444152"/>
              <a:gd name="connsiteX72" fmla="*/ 1435366 w 2259427"/>
              <a:gd name="connsiteY72" fmla="*/ 105824 h 444152"/>
              <a:gd name="connsiteX73" fmla="*/ 1434560 w 2259427"/>
              <a:gd name="connsiteY73" fmla="*/ 89334 h 444152"/>
              <a:gd name="connsiteX74" fmla="*/ 1478816 w 2259427"/>
              <a:gd name="connsiteY74" fmla="*/ 114676 h 444152"/>
              <a:gd name="connsiteX75" fmla="*/ 1537958 w 2259427"/>
              <a:gd name="connsiteY75" fmla="*/ 84905 h 444152"/>
              <a:gd name="connsiteX76" fmla="*/ 2171320 w 2259427"/>
              <a:gd name="connsiteY76" fmla="*/ 84093 h 444152"/>
              <a:gd name="connsiteX77" fmla="*/ 2259427 w 2259427"/>
              <a:gd name="connsiteY77" fmla="*/ 185074 h 444152"/>
              <a:gd name="connsiteX78" fmla="*/ 2096887 w 2259427"/>
              <a:gd name="connsiteY78" fmla="*/ 261113 h 444152"/>
              <a:gd name="connsiteX79" fmla="*/ 2096887 w 2259427"/>
              <a:gd name="connsiteY79" fmla="*/ 383020 h 444152"/>
              <a:gd name="connsiteX80" fmla="*/ 2077978 w 2259427"/>
              <a:gd name="connsiteY80" fmla="*/ 383020 h 444152"/>
              <a:gd name="connsiteX81" fmla="*/ 2077978 w 2259427"/>
              <a:gd name="connsiteY81" fmla="*/ 148057 h 444152"/>
              <a:gd name="connsiteX82" fmla="*/ 2053036 w 2259427"/>
              <a:gd name="connsiteY82" fmla="*/ 103001 h 444152"/>
              <a:gd name="connsiteX83" fmla="*/ 2052230 w 2259427"/>
              <a:gd name="connsiteY83" fmla="*/ 86904 h 444152"/>
              <a:gd name="connsiteX84" fmla="*/ 2094475 w 2259427"/>
              <a:gd name="connsiteY84" fmla="*/ 122309 h 444152"/>
              <a:gd name="connsiteX85" fmla="*/ 2094475 w 2259427"/>
              <a:gd name="connsiteY85" fmla="*/ 127944 h 444152"/>
              <a:gd name="connsiteX86" fmla="*/ 2171320 w 2259427"/>
              <a:gd name="connsiteY86" fmla="*/ 84093 h 444152"/>
              <a:gd name="connsiteX87" fmla="*/ 1698269 w 2259427"/>
              <a:gd name="connsiteY87" fmla="*/ 83503 h 444152"/>
              <a:gd name="connsiteX88" fmla="*/ 1800059 w 2259427"/>
              <a:gd name="connsiteY88" fmla="*/ 183985 h 444152"/>
              <a:gd name="connsiteX89" fmla="*/ 1596479 w 2259427"/>
              <a:gd name="connsiteY89" fmla="*/ 183985 h 444152"/>
              <a:gd name="connsiteX90" fmla="*/ 1698269 w 2259427"/>
              <a:gd name="connsiteY90" fmla="*/ 83503 h 444152"/>
              <a:gd name="connsiteX91" fmla="*/ 6592 w 2259427"/>
              <a:gd name="connsiteY91" fmla="*/ 78970 h 444152"/>
              <a:gd name="connsiteX92" fmla="*/ 181138 w 2259427"/>
              <a:gd name="connsiteY92" fmla="*/ 78970 h 444152"/>
              <a:gd name="connsiteX93" fmla="*/ 181138 w 2259427"/>
              <a:gd name="connsiteY93" fmla="*/ 86007 h 444152"/>
              <a:gd name="connsiteX94" fmla="*/ 88811 w 2259427"/>
              <a:gd name="connsiteY94" fmla="*/ 237698 h 444152"/>
              <a:gd name="connsiteX95" fmla="*/ 181138 w 2259427"/>
              <a:gd name="connsiteY95" fmla="*/ 237698 h 444152"/>
              <a:gd name="connsiteX96" fmla="*/ 181138 w 2259427"/>
              <a:gd name="connsiteY96" fmla="*/ 290894 h 444152"/>
              <a:gd name="connsiteX97" fmla="*/ 0 w 2259427"/>
              <a:gd name="connsiteY97" fmla="*/ 290894 h 444152"/>
              <a:gd name="connsiteX98" fmla="*/ 0 w 2259427"/>
              <a:gd name="connsiteY98" fmla="*/ 283858 h 444152"/>
              <a:gd name="connsiteX99" fmla="*/ 93646 w 2259427"/>
              <a:gd name="connsiteY99" fmla="*/ 129978 h 444152"/>
              <a:gd name="connsiteX100" fmla="*/ 6592 w 2259427"/>
              <a:gd name="connsiteY100" fmla="*/ 129978 h 444152"/>
              <a:gd name="connsiteX101" fmla="*/ 1032311 w 2259427"/>
              <a:gd name="connsiteY101" fmla="*/ 74573 h 444152"/>
              <a:gd name="connsiteX102" fmla="*/ 1142663 w 2259427"/>
              <a:gd name="connsiteY102" fmla="*/ 98818 h 444152"/>
              <a:gd name="connsiteX103" fmla="*/ 1142663 w 2259427"/>
              <a:gd name="connsiteY103" fmla="*/ 278947 h 444152"/>
              <a:gd name="connsiteX104" fmla="*/ 1052970 w 2259427"/>
              <a:gd name="connsiteY104" fmla="*/ 295292 h 444152"/>
              <a:gd name="connsiteX105" fmla="*/ 930746 w 2259427"/>
              <a:gd name="connsiteY105" fmla="*/ 188010 h 444152"/>
              <a:gd name="connsiteX106" fmla="*/ 1032311 w 2259427"/>
              <a:gd name="connsiteY106" fmla="*/ 74573 h 444152"/>
              <a:gd name="connsiteX107" fmla="*/ 307499 w 2259427"/>
              <a:gd name="connsiteY107" fmla="*/ 74573 h 444152"/>
              <a:gd name="connsiteX108" fmla="*/ 417852 w 2259427"/>
              <a:gd name="connsiteY108" fmla="*/ 98818 h 444152"/>
              <a:gd name="connsiteX109" fmla="*/ 417852 w 2259427"/>
              <a:gd name="connsiteY109" fmla="*/ 278947 h 444152"/>
              <a:gd name="connsiteX110" fmla="*/ 328165 w 2259427"/>
              <a:gd name="connsiteY110" fmla="*/ 295292 h 444152"/>
              <a:gd name="connsiteX111" fmla="*/ 205934 w 2259427"/>
              <a:gd name="connsiteY111" fmla="*/ 188010 h 444152"/>
              <a:gd name="connsiteX112" fmla="*/ 307499 w 2259427"/>
              <a:gd name="connsiteY112" fmla="*/ 74573 h 444152"/>
              <a:gd name="connsiteX113" fmla="*/ 462153 w 2259427"/>
              <a:gd name="connsiteY113" fmla="*/ 7595 h 444152"/>
              <a:gd name="connsiteX114" fmla="*/ 523268 w 2259427"/>
              <a:gd name="connsiteY114" fmla="*/ 7595 h 444152"/>
              <a:gd name="connsiteX115" fmla="*/ 523268 w 2259427"/>
              <a:gd name="connsiteY115" fmla="*/ 84694 h 444152"/>
              <a:gd name="connsiteX116" fmla="*/ 572506 w 2259427"/>
              <a:gd name="connsiteY116" fmla="*/ 74573 h 444152"/>
              <a:gd name="connsiteX117" fmla="*/ 674070 w 2259427"/>
              <a:gd name="connsiteY117" fmla="*/ 188010 h 444152"/>
              <a:gd name="connsiteX118" fmla="*/ 551846 w 2259427"/>
              <a:gd name="connsiteY118" fmla="*/ 295292 h 444152"/>
              <a:gd name="connsiteX119" fmla="*/ 462153 w 2259427"/>
              <a:gd name="connsiteY119" fmla="*/ 278585 h 444152"/>
              <a:gd name="connsiteX120" fmla="*/ 709926 w 2259427"/>
              <a:gd name="connsiteY120" fmla="*/ 7151 h 444152"/>
              <a:gd name="connsiteX121" fmla="*/ 771041 w 2259427"/>
              <a:gd name="connsiteY121" fmla="*/ 7151 h 444152"/>
              <a:gd name="connsiteX122" fmla="*/ 771041 w 2259427"/>
              <a:gd name="connsiteY122" fmla="*/ 156799 h 444152"/>
              <a:gd name="connsiteX123" fmla="*/ 785990 w 2259427"/>
              <a:gd name="connsiteY123" fmla="*/ 156799 h 444152"/>
              <a:gd name="connsiteX124" fmla="*/ 847099 w 2259427"/>
              <a:gd name="connsiteY124" fmla="*/ 78970 h 444152"/>
              <a:gd name="connsiteX125" fmla="*/ 905144 w 2259427"/>
              <a:gd name="connsiteY125" fmla="*/ 78970 h 444152"/>
              <a:gd name="connsiteX126" fmla="*/ 854574 w 2259427"/>
              <a:gd name="connsiteY126" fmla="*/ 183181 h 444152"/>
              <a:gd name="connsiteX127" fmla="*/ 915251 w 2259427"/>
              <a:gd name="connsiteY127" fmla="*/ 284296 h 444152"/>
              <a:gd name="connsiteX128" fmla="*/ 915251 w 2259427"/>
              <a:gd name="connsiteY128" fmla="*/ 290450 h 444152"/>
              <a:gd name="connsiteX129" fmla="*/ 853260 w 2259427"/>
              <a:gd name="connsiteY129" fmla="*/ 290450 h 444152"/>
              <a:gd name="connsiteX130" fmla="*/ 802697 w 2259427"/>
              <a:gd name="connsiteY130" fmla="*/ 202521 h 444152"/>
              <a:gd name="connsiteX131" fmla="*/ 785108 w 2259427"/>
              <a:gd name="connsiteY131" fmla="*/ 205160 h 444152"/>
              <a:gd name="connsiteX132" fmla="*/ 771041 w 2259427"/>
              <a:gd name="connsiteY132" fmla="*/ 205160 h 444152"/>
              <a:gd name="connsiteX133" fmla="*/ 771041 w 2259427"/>
              <a:gd name="connsiteY133" fmla="*/ 290450 h 444152"/>
              <a:gd name="connsiteX134" fmla="*/ 709926 w 2259427"/>
              <a:gd name="connsiteY134" fmla="*/ 290450 h 444152"/>
              <a:gd name="connsiteX135" fmla="*/ 95842 w 2259427"/>
              <a:gd name="connsiteY135" fmla="*/ 0 h 444152"/>
              <a:gd name="connsiteX136" fmla="*/ 129153 w 2259427"/>
              <a:gd name="connsiteY136" fmla="*/ 30805 h 444152"/>
              <a:gd name="connsiteX137" fmla="*/ 95842 w 2259427"/>
              <a:gd name="connsiteY137" fmla="*/ 60786 h 444152"/>
              <a:gd name="connsiteX138" fmla="*/ 63374 w 2259427"/>
              <a:gd name="connsiteY138" fmla="*/ 30805 h 444152"/>
              <a:gd name="connsiteX139" fmla="*/ 95842 w 2259427"/>
              <a:gd name="connsiteY139" fmla="*/ 0 h 444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2259427" h="444152">
                <a:moveTo>
                  <a:pt x="204906" y="315259"/>
                </a:moveTo>
                <a:cubicBezTo>
                  <a:pt x="273084" y="357505"/>
                  <a:pt x="355379" y="382238"/>
                  <a:pt x="443917" y="382238"/>
                </a:cubicBezTo>
                <a:cubicBezTo>
                  <a:pt x="532449" y="382238"/>
                  <a:pt x="614725" y="357511"/>
                  <a:pt x="682903" y="315285"/>
                </a:cubicBezTo>
                <a:lnTo>
                  <a:pt x="692598" y="361388"/>
                </a:lnTo>
                <a:cubicBezTo>
                  <a:pt x="623196" y="413347"/>
                  <a:pt x="537088" y="444152"/>
                  <a:pt x="443917" y="444152"/>
                </a:cubicBezTo>
                <a:cubicBezTo>
                  <a:pt x="350734" y="444152"/>
                  <a:pt x="264613" y="413335"/>
                  <a:pt x="195211" y="361362"/>
                </a:cubicBezTo>
                <a:close/>
                <a:moveTo>
                  <a:pt x="1042863" y="124255"/>
                </a:moveTo>
                <a:cubicBezTo>
                  <a:pt x="1014284" y="125581"/>
                  <a:pt x="992299" y="140524"/>
                  <a:pt x="992299" y="188010"/>
                </a:cubicBezTo>
                <a:cubicBezTo>
                  <a:pt x="992299" y="231099"/>
                  <a:pt x="1014722" y="245166"/>
                  <a:pt x="1045940" y="245604"/>
                </a:cubicBezTo>
                <a:cubicBezTo>
                  <a:pt x="1057367" y="246041"/>
                  <a:pt x="1069677" y="243852"/>
                  <a:pt x="1082868" y="240331"/>
                </a:cubicBezTo>
                <a:lnTo>
                  <a:pt x="1082868" y="132814"/>
                </a:lnTo>
                <a:cubicBezTo>
                  <a:pt x="1068446" y="126349"/>
                  <a:pt x="1055166" y="123817"/>
                  <a:pt x="1042863" y="124255"/>
                </a:cubicBezTo>
                <a:close/>
                <a:moveTo>
                  <a:pt x="561960" y="124255"/>
                </a:moveTo>
                <a:cubicBezTo>
                  <a:pt x="549651" y="123817"/>
                  <a:pt x="536015" y="127332"/>
                  <a:pt x="521948" y="135251"/>
                </a:cubicBezTo>
                <a:lnTo>
                  <a:pt x="521948" y="240331"/>
                </a:lnTo>
                <a:cubicBezTo>
                  <a:pt x="535133" y="243852"/>
                  <a:pt x="547449" y="246041"/>
                  <a:pt x="558883" y="245604"/>
                </a:cubicBezTo>
                <a:cubicBezTo>
                  <a:pt x="590094" y="245166"/>
                  <a:pt x="612517" y="231099"/>
                  <a:pt x="612517" y="188010"/>
                </a:cubicBezTo>
                <a:cubicBezTo>
                  <a:pt x="612517" y="140524"/>
                  <a:pt x="590538" y="125581"/>
                  <a:pt x="561960" y="124255"/>
                </a:cubicBezTo>
                <a:close/>
                <a:moveTo>
                  <a:pt x="318051" y="124255"/>
                </a:moveTo>
                <a:cubicBezTo>
                  <a:pt x="289473" y="125581"/>
                  <a:pt x="267487" y="140524"/>
                  <a:pt x="267487" y="188010"/>
                </a:cubicBezTo>
                <a:cubicBezTo>
                  <a:pt x="267487" y="231099"/>
                  <a:pt x="289911" y="245166"/>
                  <a:pt x="321128" y="245604"/>
                </a:cubicBezTo>
                <a:cubicBezTo>
                  <a:pt x="332556" y="246041"/>
                  <a:pt x="344865" y="243852"/>
                  <a:pt x="358063" y="240331"/>
                </a:cubicBezTo>
                <a:lnTo>
                  <a:pt x="358063" y="132814"/>
                </a:lnTo>
                <a:cubicBezTo>
                  <a:pt x="343634" y="126349"/>
                  <a:pt x="330360" y="123817"/>
                  <a:pt x="318051" y="124255"/>
                </a:cubicBezTo>
                <a:close/>
                <a:moveTo>
                  <a:pt x="1321088" y="103821"/>
                </a:moveTo>
                <a:cubicBezTo>
                  <a:pt x="1270797" y="103821"/>
                  <a:pt x="1236597" y="130375"/>
                  <a:pt x="1236597" y="185495"/>
                </a:cubicBezTo>
                <a:cubicBezTo>
                  <a:pt x="1236597" y="244637"/>
                  <a:pt x="1271197" y="270791"/>
                  <a:pt x="1311430" y="270791"/>
                </a:cubicBezTo>
                <a:cubicBezTo>
                  <a:pt x="1333555" y="270791"/>
                  <a:pt x="1356893" y="262745"/>
                  <a:pt x="1378218" y="245442"/>
                </a:cubicBezTo>
                <a:lnTo>
                  <a:pt x="1378218" y="116296"/>
                </a:lnTo>
                <a:cubicBezTo>
                  <a:pt x="1358504" y="107844"/>
                  <a:pt x="1339590" y="103821"/>
                  <a:pt x="1321088" y="103821"/>
                </a:cubicBezTo>
                <a:close/>
                <a:moveTo>
                  <a:pt x="2168103" y="102196"/>
                </a:moveTo>
                <a:cubicBezTo>
                  <a:pt x="2125458" y="102196"/>
                  <a:pt x="2098098" y="135589"/>
                  <a:pt x="2096887" y="176223"/>
                </a:cubicBezTo>
                <a:lnTo>
                  <a:pt x="2096887" y="240999"/>
                </a:lnTo>
                <a:cubicBezTo>
                  <a:pt x="2156029" y="290484"/>
                  <a:pt x="2239713" y="267953"/>
                  <a:pt x="2239713" y="185074"/>
                </a:cubicBezTo>
                <a:cubicBezTo>
                  <a:pt x="2239713" y="141624"/>
                  <a:pt x="2215577" y="102196"/>
                  <a:pt x="2168103" y="102196"/>
                </a:cubicBezTo>
                <a:close/>
                <a:moveTo>
                  <a:pt x="1698272" y="101001"/>
                </a:moveTo>
                <a:cubicBezTo>
                  <a:pt x="1657033" y="101001"/>
                  <a:pt x="1615793" y="128662"/>
                  <a:pt x="1615793" y="183985"/>
                </a:cubicBezTo>
                <a:cubicBezTo>
                  <a:pt x="1615793" y="293824"/>
                  <a:pt x="1780751" y="294623"/>
                  <a:pt x="1780751" y="183985"/>
                </a:cubicBezTo>
                <a:cubicBezTo>
                  <a:pt x="1780751" y="128662"/>
                  <a:pt x="1739511" y="101001"/>
                  <a:pt x="1698272" y="101001"/>
                </a:cubicBezTo>
                <a:close/>
                <a:moveTo>
                  <a:pt x="1841552" y="88927"/>
                </a:moveTo>
                <a:lnTo>
                  <a:pt x="1860866" y="88927"/>
                </a:lnTo>
                <a:lnTo>
                  <a:pt x="1860866" y="206811"/>
                </a:lnTo>
                <a:cubicBezTo>
                  <a:pt x="1860866" y="245433"/>
                  <a:pt x="1886614" y="269170"/>
                  <a:pt x="1924031" y="269170"/>
                </a:cubicBezTo>
                <a:cubicBezTo>
                  <a:pt x="1962659" y="269576"/>
                  <a:pt x="1985590" y="243822"/>
                  <a:pt x="1985590" y="203588"/>
                </a:cubicBezTo>
                <a:lnTo>
                  <a:pt x="1985590" y="88927"/>
                </a:lnTo>
                <a:lnTo>
                  <a:pt x="2004905" y="88927"/>
                </a:lnTo>
                <a:lnTo>
                  <a:pt x="2004905" y="233365"/>
                </a:lnTo>
                <a:cubicBezTo>
                  <a:pt x="2004905" y="264342"/>
                  <a:pt x="2008122" y="270782"/>
                  <a:pt x="2029441" y="267565"/>
                </a:cubicBezTo>
                <a:lnTo>
                  <a:pt x="2029847" y="283656"/>
                </a:lnTo>
                <a:cubicBezTo>
                  <a:pt x="2000476" y="288078"/>
                  <a:pt x="1987602" y="283250"/>
                  <a:pt x="1987602" y="252273"/>
                </a:cubicBezTo>
                <a:cubicBezTo>
                  <a:pt x="1969493" y="279227"/>
                  <a:pt x="1950185" y="287279"/>
                  <a:pt x="1919608" y="287279"/>
                </a:cubicBezTo>
                <a:cubicBezTo>
                  <a:pt x="1870523" y="287279"/>
                  <a:pt x="1841552" y="253479"/>
                  <a:pt x="1841552" y="206811"/>
                </a:cubicBezTo>
                <a:close/>
                <a:moveTo>
                  <a:pt x="1322293" y="84913"/>
                </a:moveTo>
                <a:cubicBezTo>
                  <a:pt x="1349253" y="85313"/>
                  <a:pt x="1373390" y="92559"/>
                  <a:pt x="1397126" y="103422"/>
                </a:cubicBezTo>
                <a:lnTo>
                  <a:pt x="1397126" y="300162"/>
                </a:lnTo>
                <a:cubicBezTo>
                  <a:pt x="1397126" y="362927"/>
                  <a:pt x="1356893" y="389475"/>
                  <a:pt x="1309819" y="389881"/>
                </a:cubicBezTo>
                <a:cubicBezTo>
                  <a:pt x="1283671" y="390280"/>
                  <a:pt x="1255505" y="382641"/>
                  <a:pt x="1230563" y="368155"/>
                </a:cubicBezTo>
                <a:lnTo>
                  <a:pt x="1235392" y="350453"/>
                </a:lnTo>
                <a:cubicBezTo>
                  <a:pt x="1258322" y="363726"/>
                  <a:pt x="1285283" y="371778"/>
                  <a:pt x="1309819" y="371778"/>
                </a:cubicBezTo>
                <a:cubicBezTo>
                  <a:pt x="1347235" y="371778"/>
                  <a:pt x="1378218" y="352064"/>
                  <a:pt x="1378218" y="300162"/>
                </a:cubicBezTo>
                <a:lnTo>
                  <a:pt x="1378218" y="265962"/>
                </a:lnTo>
                <a:cubicBezTo>
                  <a:pt x="1355687" y="280848"/>
                  <a:pt x="1332756" y="287688"/>
                  <a:pt x="1310225" y="288087"/>
                </a:cubicBezTo>
                <a:cubicBezTo>
                  <a:pt x="1259934" y="289299"/>
                  <a:pt x="1217283" y="255100"/>
                  <a:pt x="1217283" y="185495"/>
                </a:cubicBezTo>
                <a:cubicBezTo>
                  <a:pt x="1217283" y="118707"/>
                  <a:pt x="1261539" y="84913"/>
                  <a:pt x="1322293" y="84913"/>
                </a:cubicBezTo>
                <a:close/>
                <a:moveTo>
                  <a:pt x="1537958" y="84905"/>
                </a:moveTo>
                <a:cubicBezTo>
                  <a:pt x="1556866" y="85311"/>
                  <a:pt x="1574569" y="90939"/>
                  <a:pt x="1587443" y="100196"/>
                </a:cubicBezTo>
                <a:lnTo>
                  <a:pt x="1580603" y="117093"/>
                </a:lnTo>
                <a:cubicBezTo>
                  <a:pt x="1568135" y="107836"/>
                  <a:pt x="1552038" y="103813"/>
                  <a:pt x="1536347" y="103813"/>
                </a:cubicBezTo>
                <a:cubicBezTo>
                  <a:pt x="1507382" y="103813"/>
                  <a:pt x="1479622" y="124333"/>
                  <a:pt x="1479622" y="157327"/>
                </a:cubicBezTo>
                <a:lnTo>
                  <a:pt x="1479622" y="282851"/>
                </a:lnTo>
                <a:lnTo>
                  <a:pt x="1460308" y="282851"/>
                </a:lnTo>
                <a:lnTo>
                  <a:pt x="1460308" y="133584"/>
                </a:lnTo>
                <a:cubicBezTo>
                  <a:pt x="1460308" y="114676"/>
                  <a:pt x="1459908" y="102607"/>
                  <a:pt x="1435366" y="105824"/>
                </a:cubicBezTo>
                <a:lnTo>
                  <a:pt x="1434560" y="89334"/>
                </a:lnTo>
                <a:cubicBezTo>
                  <a:pt x="1465536" y="84099"/>
                  <a:pt x="1478816" y="92145"/>
                  <a:pt x="1478816" y="114676"/>
                </a:cubicBezTo>
                <a:cubicBezTo>
                  <a:pt x="1491690" y="91745"/>
                  <a:pt x="1515427" y="83699"/>
                  <a:pt x="1537958" y="84905"/>
                </a:cubicBezTo>
                <a:close/>
                <a:moveTo>
                  <a:pt x="2171320" y="84093"/>
                </a:moveTo>
                <a:cubicBezTo>
                  <a:pt x="2228051" y="84093"/>
                  <a:pt x="2259427" y="131567"/>
                  <a:pt x="2259427" y="185074"/>
                </a:cubicBezTo>
                <a:cubicBezTo>
                  <a:pt x="2259427" y="277211"/>
                  <a:pt x="2167297" y="313422"/>
                  <a:pt x="2096887" y="261113"/>
                </a:cubicBezTo>
                <a:lnTo>
                  <a:pt x="2096887" y="383020"/>
                </a:lnTo>
                <a:lnTo>
                  <a:pt x="2077978" y="383020"/>
                </a:lnTo>
                <a:lnTo>
                  <a:pt x="2077978" y="148057"/>
                </a:lnTo>
                <a:cubicBezTo>
                  <a:pt x="2077978" y="118693"/>
                  <a:pt x="2080396" y="98573"/>
                  <a:pt x="2053036" y="103001"/>
                </a:cubicBezTo>
                <a:lnTo>
                  <a:pt x="2052230" y="86904"/>
                </a:lnTo>
                <a:cubicBezTo>
                  <a:pt x="2084419" y="81676"/>
                  <a:pt x="2094475" y="95356"/>
                  <a:pt x="2094475" y="122309"/>
                </a:cubicBezTo>
                <a:lnTo>
                  <a:pt x="2094475" y="127944"/>
                </a:lnTo>
                <a:cubicBezTo>
                  <a:pt x="2110167" y="95755"/>
                  <a:pt x="2137526" y="84093"/>
                  <a:pt x="2171320" y="84093"/>
                </a:cubicBezTo>
                <a:close/>
                <a:moveTo>
                  <a:pt x="1698269" y="83503"/>
                </a:moveTo>
                <a:cubicBezTo>
                  <a:pt x="1749164" y="83503"/>
                  <a:pt x="1800059" y="116997"/>
                  <a:pt x="1800059" y="183985"/>
                </a:cubicBezTo>
                <a:cubicBezTo>
                  <a:pt x="1800059" y="317560"/>
                  <a:pt x="1596479" y="317560"/>
                  <a:pt x="1596479" y="183985"/>
                </a:cubicBezTo>
                <a:cubicBezTo>
                  <a:pt x="1596479" y="116997"/>
                  <a:pt x="1647374" y="83503"/>
                  <a:pt x="1698269" y="83503"/>
                </a:cubicBezTo>
                <a:close/>
                <a:moveTo>
                  <a:pt x="6592" y="78970"/>
                </a:moveTo>
                <a:lnTo>
                  <a:pt x="181138" y="78970"/>
                </a:lnTo>
                <a:lnTo>
                  <a:pt x="181138" y="86007"/>
                </a:lnTo>
                <a:lnTo>
                  <a:pt x="88811" y="237698"/>
                </a:lnTo>
                <a:lnTo>
                  <a:pt x="181138" y="237698"/>
                </a:lnTo>
                <a:lnTo>
                  <a:pt x="181138" y="290894"/>
                </a:lnTo>
                <a:lnTo>
                  <a:pt x="0" y="290894"/>
                </a:lnTo>
                <a:lnTo>
                  <a:pt x="0" y="283858"/>
                </a:lnTo>
                <a:lnTo>
                  <a:pt x="93646" y="129978"/>
                </a:lnTo>
                <a:lnTo>
                  <a:pt x="6592" y="129978"/>
                </a:lnTo>
                <a:close/>
                <a:moveTo>
                  <a:pt x="1032311" y="74573"/>
                </a:moveTo>
                <a:cubicBezTo>
                  <a:pt x="1092779" y="74573"/>
                  <a:pt x="1142663" y="98818"/>
                  <a:pt x="1142663" y="98818"/>
                </a:cubicBezTo>
                <a:lnTo>
                  <a:pt x="1142663" y="278947"/>
                </a:lnTo>
                <a:cubicBezTo>
                  <a:pt x="1116693" y="282811"/>
                  <a:pt x="1093743" y="294879"/>
                  <a:pt x="1052970" y="295292"/>
                </a:cubicBezTo>
                <a:cubicBezTo>
                  <a:pt x="988346" y="295945"/>
                  <a:pt x="930746" y="270673"/>
                  <a:pt x="930746" y="188010"/>
                </a:cubicBezTo>
                <a:cubicBezTo>
                  <a:pt x="930746" y="114591"/>
                  <a:pt x="973391" y="74573"/>
                  <a:pt x="1032311" y="74573"/>
                </a:cubicBezTo>
                <a:close/>
                <a:moveTo>
                  <a:pt x="307499" y="74573"/>
                </a:moveTo>
                <a:cubicBezTo>
                  <a:pt x="367967" y="74573"/>
                  <a:pt x="417852" y="98818"/>
                  <a:pt x="417852" y="98818"/>
                </a:cubicBezTo>
                <a:lnTo>
                  <a:pt x="417852" y="278947"/>
                </a:lnTo>
                <a:cubicBezTo>
                  <a:pt x="391882" y="282811"/>
                  <a:pt x="368932" y="294879"/>
                  <a:pt x="328165" y="295292"/>
                </a:cubicBezTo>
                <a:cubicBezTo>
                  <a:pt x="263534" y="295945"/>
                  <a:pt x="205934" y="270673"/>
                  <a:pt x="205934" y="188010"/>
                </a:cubicBezTo>
                <a:cubicBezTo>
                  <a:pt x="205934" y="114591"/>
                  <a:pt x="248579" y="74573"/>
                  <a:pt x="307499" y="74573"/>
                </a:cubicBezTo>
                <a:close/>
                <a:moveTo>
                  <a:pt x="462153" y="7595"/>
                </a:moveTo>
                <a:lnTo>
                  <a:pt x="523268" y="7595"/>
                </a:lnTo>
                <a:lnTo>
                  <a:pt x="523268" y="84694"/>
                </a:lnTo>
                <a:cubicBezTo>
                  <a:pt x="540412" y="77651"/>
                  <a:pt x="557119" y="74573"/>
                  <a:pt x="572506" y="74573"/>
                </a:cubicBezTo>
                <a:cubicBezTo>
                  <a:pt x="631425" y="74135"/>
                  <a:pt x="674070" y="114591"/>
                  <a:pt x="674070" y="188010"/>
                </a:cubicBezTo>
                <a:cubicBezTo>
                  <a:pt x="674070" y="270673"/>
                  <a:pt x="616470" y="294613"/>
                  <a:pt x="551846" y="295292"/>
                </a:cubicBezTo>
                <a:cubicBezTo>
                  <a:pt x="515521" y="295672"/>
                  <a:pt x="492228" y="283249"/>
                  <a:pt x="462153" y="278585"/>
                </a:cubicBezTo>
                <a:close/>
                <a:moveTo>
                  <a:pt x="709926" y="7151"/>
                </a:moveTo>
                <a:lnTo>
                  <a:pt x="771041" y="7151"/>
                </a:lnTo>
                <a:lnTo>
                  <a:pt x="771041" y="156799"/>
                </a:lnTo>
                <a:lnTo>
                  <a:pt x="785990" y="156799"/>
                </a:lnTo>
                <a:cubicBezTo>
                  <a:pt x="834796" y="156799"/>
                  <a:pt x="847099" y="122497"/>
                  <a:pt x="847099" y="78970"/>
                </a:cubicBezTo>
                <a:lnTo>
                  <a:pt x="905144" y="78970"/>
                </a:lnTo>
                <a:cubicBezTo>
                  <a:pt x="906457" y="123817"/>
                  <a:pt x="896343" y="161189"/>
                  <a:pt x="854574" y="183181"/>
                </a:cubicBezTo>
                <a:lnTo>
                  <a:pt x="915251" y="284296"/>
                </a:lnTo>
                <a:lnTo>
                  <a:pt x="915251" y="290450"/>
                </a:lnTo>
                <a:lnTo>
                  <a:pt x="853260" y="290450"/>
                </a:lnTo>
                <a:lnTo>
                  <a:pt x="802697" y="202521"/>
                </a:lnTo>
                <a:cubicBezTo>
                  <a:pt x="797424" y="204278"/>
                  <a:pt x="791707" y="205160"/>
                  <a:pt x="785108" y="205160"/>
                </a:cubicBezTo>
                <a:lnTo>
                  <a:pt x="771041" y="205160"/>
                </a:lnTo>
                <a:lnTo>
                  <a:pt x="771041" y="290450"/>
                </a:lnTo>
                <a:lnTo>
                  <a:pt x="709926" y="290450"/>
                </a:lnTo>
                <a:close/>
                <a:moveTo>
                  <a:pt x="95842" y="0"/>
                </a:moveTo>
                <a:cubicBezTo>
                  <a:pt x="114578" y="0"/>
                  <a:pt x="129153" y="12075"/>
                  <a:pt x="129153" y="30805"/>
                </a:cubicBezTo>
                <a:cubicBezTo>
                  <a:pt x="129153" y="49130"/>
                  <a:pt x="114578" y="60786"/>
                  <a:pt x="95842" y="60786"/>
                </a:cubicBezTo>
                <a:cubicBezTo>
                  <a:pt x="77942" y="60786"/>
                  <a:pt x="63374" y="49130"/>
                  <a:pt x="63374" y="30805"/>
                </a:cubicBezTo>
                <a:cubicBezTo>
                  <a:pt x="63374" y="12075"/>
                  <a:pt x="77942" y="0"/>
                  <a:pt x="9584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180000" indent="0">
              <a:buNone/>
              <a:defRPr sz="100">
                <a:noFill/>
              </a:defRPr>
            </a:lvl2pPr>
            <a:lvl3pPr marL="360000" indent="0">
              <a:buNone/>
              <a:defRPr sz="100">
                <a:noFill/>
              </a:defRPr>
            </a:lvl3pPr>
            <a:lvl4pPr marL="540000" indent="0">
              <a:buNone/>
              <a:defRPr sz="100">
                <a:noFill/>
              </a:defRPr>
            </a:lvl4pPr>
            <a:lvl5pPr marL="720000" indent="0">
              <a:buNone/>
              <a:defRPr sz="100">
                <a:noFill/>
              </a:defRPr>
            </a:lvl5pPr>
          </a:lstStyle>
          <a:p>
            <a:pPr lvl="0"/>
            <a:r>
              <a:rPr lang="en-US" noProof="0"/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24507668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zekład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4AF6F4C-16B7-47D8-988B-A78C2425A21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407F9FC-59C7-48F7-A3E2-A90AC4A905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600" y="774704"/>
            <a:ext cx="6784976" cy="5724525"/>
          </a:xfrm>
          <a:prstGeom prst="roundRect">
            <a:avLst>
              <a:gd name="adj" fmla="val 1526"/>
            </a:avLst>
          </a:prstGeom>
          <a:solidFill>
            <a:schemeClr val="bg1"/>
          </a:solidFill>
          <a:effectLst>
            <a:outerShdw blurRad="165100" dist="76200" dir="40800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44000" tIns="144000" rIns="91440" bIns="45720" rtlCol="0">
            <a:noAutofit/>
          </a:bodyPr>
          <a:lstStyle>
            <a:lvl1pPr marL="0" indent="0">
              <a:buNone/>
              <a:defRPr lang="en-GB" sz="2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8BAE56DC-67FE-45CE-AA2E-B37DD136E1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1063" y="2351816"/>
            <a:ext cx="5685732" cy="2152644"/>
          </a:xfrm>
          <a:custGeom>
            <a:avLst/>
            <a:gdLst>
              <a:gd name="connsiteX0" fmla="*/ 76200 w 5685732"/>
              <a:gd name="connsiteY0" fmla="*/ 0 h 2152644"/>
              <a:gd name="connsiteX1" fmla="*/ 5609532 w 5685732"/>
              <a:gd name="connsiteY1" fmla="*/ 0 h 2152644"/>
              <a:gd name="connsiteX2" fmla="*/ 5685732 w 5685732"/>
              <a:gd name="connsiteY2" fmla="*/ 76200 h 2152644"/>
              <a:gd name="connsiteX3" fmla="*/ 5685732 w 5685732"/>
              <a:gd name="connsiteY3" fmla="*/ 2076445 h 2152644"/>
              <a:gd name="connsiteX4" fmla="*/ 5609532 w 5685732"/>
              <a:gd name="connsiteY4" fmla="*/ 2152644 h 2152644"/>
              <a:gd name="connsiteX5" fmla="*/ 76200 w 5685732"/>
              <a:gd name="connsiteY5" fmla="*/ 2152644 h 2152644"/>
              <a:gd name="connsiteX6" fmla="*/ 0 w 5685732"/>
              <a:gd name="connsiteY6" fmla="*/ 2076445 h 2152644"/>
              <a:gd name="connsiteX7" fmla="*/ 0 w 5685732"/>
              <a:gd name="connsiteY7" fmla="*/ 76200 h 2152644"/>
              <a:gd name="connsiteX8" fmla="*/ 76200 w 5685732"/>
              <a:gd name="connsiteY8" fmla="*/ 0 h 2152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85732" h="2152644">
                <a:moveTo>
                  <a:pt x="76200" y="0"/>
                </a:moveTo>
                <a:lnTo>
                  <a:pt x="5609532" y="0"/>
                </a:lnTo>
                <a:cubicBezTo>
                  <a:pt x="5651620" y="0"/>
                  <a:pt x="5685732" y="34118"/>
                  <a:pt x="5685732" y="76200"/>
                </a:cubicBezTo>
                <a:lnTo>
                  <a:pt x="5685732" y="2076445"/>
                </a:lnTo>
                <a:cubicBezTo>
                  <a:pt x="5685732" y="2118526"/>
                  <a:pt x="5651620" y="2152644"/>
                  <a:pt x="5609532" y="2152644"/>
                </a:cubicBezTo>
                <a:lnTo>
                  <a:pt x="76200" y="2152644"/>
                </a:lnTo>
                <a:cubicBezTo>
                  <a:pt x="34119" y="2152644"/>
                  <a:pt x="0" y="2118526"/>
                  <a:pt x="0" y="2076445"/>
                </a:cubicBezTo>
                <a:lnTo>
                  <a:pt x="0" y="76200"/>
                </a:lnTo>
                <a:cubicBezTo>
                  <a:pt x="0" y="34118"/>
                  <a:pt x="34119" y="0"/>
                  <a:pt x="76200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17254E-F2D6-4AD8-9D9F-00003AB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19638" y="2352707"/>
            <a:ext cx="5685730" cy="2152644"/>
          </a:xfrm>
        </p:spPr>
        <p:txBody>
          <a:bodyPr anchor="ctr">
            <a:no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Wprowadź tytuł przekładk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9804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zekładk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EEE7C1C-28B4-4996-8BC6-C51B26332C05}"/>
              </a:ext>
            </a:extLst>
          </p:cNvPr>
          <p:cNvSpPr/>
          <p:nvPr userDrawn="1"/>
        </p:nvSpPr>
        <p:spPr>
          <a:xfrm>
            <a:off x="4940060" y="6202392"/>
            <a:ext cx="7251940" cy="6556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>
              <a:latin typeface="Calibri" panose="020F0502020204030204" pitchFamily="34" charset="0"/>
            </a:endParaRP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FF2DF2DB-CD1D-43CD-AA7A-0B919525E86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</p:spPr>
        <p:txBody>
          <a:bodyPr lIns="144000" tIns="144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Wstaw zdjęcie</a:t>
            </a:r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8BAE56DC-67FE-45CE-AA2E-B37DD136E1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1063" y="2351816"/>
            <a:ext cx="5685732" cy="2152644"/>
          </a:xfrm>
          <a:custGeom>
            <a:avLst/>
            <a:gdLst>
              <a:gd name="connsiteX0" fmla="*/ 76200 w 5685732"/>
              <a:gd name="connsiteY0" fmla="*/ 0 h 2152644"/>
              <a:gd name="connsiteX1" fmla="*/ 5609532 w 5685732"/>
              <a:gd name="connsiteY1" fmla="*/ 0 h 2152644"/>
              <a:gd name="connsiteX2" fmla="*/ 5685732 w 5685732"/>
              <a:gd name="connsiteY2" fmla="*/ 76200 h 2152644"/>
              <a:gd name="connsiteX3" fmla="*/ 5685732 w 5685732"/>
              <a:gd name="connsiteY3" fmla="*/ 2076445 h 2152644"/>
              <a:gd name="connsiteX4" fmla="*/ 5609532 w 5685732"/>
              <a:gd name="connsiteY4" fmla="*/ 2152644 h 2152644"/>
              <a:gd name="connsiteX5" fmla="*/ 76200 w 5685732"/>
              <a:gd name="connsiteY5" fmla="*/ 2152644 h 2152644"/>
              <a:gd name="connsiteX6" fmla="*/ 0 w 5685732"/>
              <a:gd name="connsiteY6" fmla="*/ 2076445 h 2152644"/>
              <a:gd name="connsiteX7" fmla="*/ 0 w 5685732"/>
              <a:gd name="connsiteY7" fmla="*/ 76200 h 2152644"/>
              <a:gd name="connsiteX8" fmla="*/ 76200 w 5685732"/>
              <a:gd name="connsiteY8" fmla="*/ 0 h 2152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85732" h="2152644">
                <a:moveTo>
                  <a:pt x="76200" y="0"/>
                </a:moveTo>
                <a:lnTo>
                  <a:pt x="5609532" y="0"/>
                </a:lnTo>
                <a:cubicBezTo>
                  <a:pt x="5651620" y="0"/>
                  <a:pt x="5685732" y="34118"/>
                  <a:pt x="5685732" y="76200"/>
                </a:cubicBezTo>
                <a:lnTo>
                  <a:pt x="5685732" y="2076445"/>
                </a:lnTo>
                <a:cubicBezTo>
                  <a:pt x="5685732" y="2118526"/>
                  <a:pt x="5651620" y="2152644"/>
                  <a:pt x="5609532" y="2152644"/>
                </a:cubicBezTo>
                <a:lnTo>
                  <a:pt x="76200" y="2152644"/>
                </a:lnTo>
                <a:cubicBezTo>
                  <a:pt x="34119" y="2152644"/>
                  <a:pt x="0" y="2118526"/>
                  <a:pt x="0" y="2076445"/>
                </a:cubicBezTo>
                <a:lnTo>
                  <a:pt x="0" y="76200"/>
                </a:lnTo>
                <a:cubicBezTo>
                  <a:pt x="0" y="34118"/>
                  <a:pt x="34119" y="0"/>
                  <a:pt x="76200" y="0"/>
                </a:cubicBezTo>
                <a:close/>
              </a:path>
            </a:pathLst>
          </a:custGeom>
          <a:solidFill>
            <a:schemeClr val="tx2">
              <a:alpha val="91000"/>
            </a:schemeClr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17254E-F2D6-4AD8-9D9F-00003AB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19638" y="2352707"/>
            <a:ext cx="5685730" cy="2152644"/>
          </a:xfrm>
        </p:spPr>
        <p:txBody>
          <a:bodyPr anchor="ctr">
            <a:noAutofit/>
          </a:bodyPr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r>
              <a:rPr lang="en-US"/>
              <a:t> </a:t>
            </a:r>
            <a:r>
              <a:rPr lang="en-US" err="1"/>
              <a:t>przekładk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226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zekład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A99370-AB57-402B-BCF0-08BE833A358C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407F9FC-59C7-48F7-A3E2-A90AC4A905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600" y="774704"/>
            <a:ext cx="6784976" cy="5724525"/>
          </a:xfrm>
          <a:prstGeom prst="roundRect">
            <a:avLst>
              <a:gd name="adj" fmla="val 1526"/>
            </a:avLst>
          </a:prstGeom>
          <a:solidFill>
            <a:schemeClr val="bg1"/>
          </a:solidFill>
          <a:effectLst>
            <a:outerShdw blurRad="165100" dist="76200" dir="40800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44000" tIns="144000" rIns="91440" bIns="45720" rtlCol="0">
            <a:noAutofit/>
          </a:bodyPr>
          <a:lstStyle>
            <a:lvl1pPr marL="0" indent="0">
              <a:buNone/>
              <a:defRPr lang="en-GB" sz="2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8BAE56DC-67FE-45CE-AA2E-B37DD136E1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1063" y="2351816"/>
            <a:ext cx="5685732" cy="2152644"/>
          </a:xfrm>
          <a:custGeom>
            <a:avLst/>
            <a:gdLst>
              <a:gd name="connsiteX0" fmla="*/ 76200 w 5685732"/>
              <a:gd name="connsiteY0" fmla="*/ 0 h 2152644"/>
              <a:gd name="connsiteX1" fmla="*/ 5609532 w 5685732"/>
              <a:gd name="connsiteY1" fmla="*/ 0 h 2152644"/>
              <a:gd name="connsiteX2" fmla="*/ 5685732 w 5685732"/>
              <a:gd name="connsiteY2" fmla="*/ 76200 h 2152644"/>
              <a:gd name="connsiteX3" fmla="*/ 5685732 w 5685732"/>
              <a:gd name="connsiteY3" fmla="*/ 2076445 h 2152644"/>
              <a:gd name="connsiteX4" fmla="*/ 5609532 w 5685732"/>
              <a:gd name="connsiteY4" fmla="*/ 2152644 h 2152644"/>
              <a:gd name="connsiteX5" fmla="*/ 76200 w 5685732"/>
              <a:gd name="connsiteY5" fmla="*/ 2152644 h 2152644"/>
              <a:gd name="connsiteX6" fmla="*/ 0 w 5685732"/>
              <a:gd name="connsiteY6" fmla="*/ 2076445 h 2152644"/>
              <a:gd name="connsiteX7" fmla="*/ 0 w 5685732"/>
              <a:gd name="connsiteY7" fmla="*/ 76200 h 2152644"/>
              <a:gd name="connsiteX8" fmla="*/ 76200 w 5685732"/>
              <a:gd name="connsiteY8" fmla="*/ 0 h 2152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85732" h="2152644">
                <a:moveTo>
                  <a:pt x="76200" y="0"/>
                </a:moveTo>
                <a:lnTo>
                  <a:pt x="5609532" y="0"/>
                </a:lnTo>
                <a:cubicBezTo>
                  <a:pt x="5651620" y="0"/>
                  <a:pt x="5685732" y="34118"/>
                  <a:pt x="5685732" y="76200"/>
                </a:cubicBezTo>
                <a:lnTo>
                  <a:pt x="5685732" y="2076445"/>
                </a:lnTo>
                <a:cubicBezTo>
                  <a:pt x="5685732" y="2118526"/>
                  <a:pt x="5651620" y="2152644"/>
                  <a:pt x="5609532" y="2152644"/>
                </a:cubicBezTo>
                <a:lnTo>
                  <a:pt x="76200" y="2152644"/>
                </a:lnTo>
                <a:cubicBezTo>
                  <a:pt x="34119" y="2152644"/>
                  <a:pt x="0" y="2118526"/>
                  <a:pt x="0" y="2076445"/>
                </a:cubicBezTo>
                <a:lnTo>
                  <a:pt x="0" y="76200"/>
                </a:lnTo>
                <a:cubicBezTo>
                  <a:pt x="0" y="34118"/>
                  <a:pt x="34119" y="0"/>
                  <a:pt x="76200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b="1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17254E-F2D6-4AD8-9D9F-00003AB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19638" y="2352707"/>
            <a:ext cx="5685730" cy="2152644"/>
          </a:xfrm>
        </p:spPr>
        <p:txBody>
          <a:bodyPr anchor="ctr">
            <a:no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Wprowadź tytuł przekładk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5510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końc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F2A3A81-3C78-46D5-A7B5-333BE27893C7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FF2DF2DB-CD1D-43CD-AA7A-0B919525E86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</p:spPr>
        <p:txBody>
          <a:bodyPr lIns="144000" tIns="144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Wstaw zdjęcie</a:t>
            </a:r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8BAE56DC-67FE-45CE-AA2E-B37DD136E1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53134" y="2351816"/>
            <a:ext cx="5685732" cy="2152644"/>
          </a:xfrm>
          <a:custGeom>
            <a:avLst/>
            <a:gdLst>
              <a:gd name="connsiteX0" fmla="*/ 76200 w 5685732"/>
              <a:gd name="connsiteY0" fmla="*/ 0 h 2152644"/>
              <a:gd name="connsiteX1" fmla="*/ 5609532 w 5685732"/>
              <a:gd name="connsiteY1" fmla="*/ 0 h 2152644"/>
              <a:gd name="connsiteX2" fmla="*/ 5685732 w 5685732"/>
              <a:gd name="connsiteY2" fmla="*/ 76200 h 2152644"/>
              <a:gd name="connsiteX3" fmla="*/ 5685732 w 5685732"/>
              <a:gd name="connsiteY3" fmla="*/ 2076445 h 2152644"/>
              <a:gd name="connsiteX4" fmla="*/ 5609532 w 5685732"/>
              <a:gd name="connsiteY4" fmla="*/ 2152644 h 2152644"/>
              <a:gd name="connsiteX5" fmla="*/ 76200 w 5685732"/>
              <a:gd name="connsiteY5" fmla="*/ 2152644 h 2152644"/>
              <a:gd name="connsiteX6" fmla="*/ 0 w 5685732"/>
              <a:gd name="connsiteY6" fmla="*/ 2076445 h 2152644"/>
              <a:gd name="connsiteX7" fmla="*/ 0 w 5685732"/>
              <a:gd name="connsiteY7" fmla="*/ 76200 h 2152644"/>
              <a:gd name="connsiteX8" fmla="*/ 76200 w 5685732"/>
              <a:gd name="connsiteY8" fmla="*/ 0 h 2152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85732" h="2152644">
                <a:moveTo>
                  <a:pt x="76200" y="0"/>
                </a:moveTo>
                <a:lnTo>
                  <a:pt x="5609532" y="0"/>
                </a:lnTo>
                <a:cubicBezTo>
                  <a:pt x="5651620" y="0"/>
                  <a:pt x="5685732" y="34118"/>
                  <a:pt x="5685732" y="76200"/>
                </a:cubicBezTo>
                <a:lnTo>
                  <a:pt x="5685732" y="2076445"/>
                </a:lnTo>
                <a:cubicBezTo>
                  <a:pt x="5685732" y="2118526"/>
                  <a:pt x="5651620" y="2152644"/>
                  <a:pt x="5609532" y="2152644"/>
                </a:cubicBezTo>
                <a:lnTo>
                  <a:pt x="76200" y="2152644"/>
                </a:lnTo>
                <a:cubicBezTo>
                  <a:pt x="34119" y="2152644"/>
                  <a:pt x="0" y="2118526"/>
                  <a:pt x="0" y="2076445"/>
                </a:cubicBezTo>
                <a:lnTo>
                  <a:pt x="0" y="76200"/>
                </a:lnTo>
                <a:cubicBezTo>
                  <a:pt x="0" y="34118"/>
                  <a:pt x="34119" y="0"/>
                  <a:pt x="76200" y="0"/>
                </a:cubicBezTo>
                <a:close/>
              </a:path>
            </a:pathLst>
          </a:custGeom>
          <a:solidFill>
            <a:schemeClr val="tx2">
              <a:alpha val="91000"/>
            </a:schemeClr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17254E-F2D6-4AD8-9D9F-00003AB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53135" y="2352707"/>
            <a:ext cx="5685730" cy="2152644"/>
          </a:xfrm>
        </p:spPr>
        <p:txBody>
          <a:bodyPr anchor="ctr">
            <a:noAutofit/>
          </a:bodyPr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pl-PL"/>
              <a:t>Wprowadź teks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40441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pl-PL"/>
              <a:t>Wprowadź 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01372182-AF33-4FB8-9445-40459DA5A7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6" y="1376365"/>
            <a:ext cx="11157128" cy="4608505"/>
          </a:xfrm>
        </p:spPr>
        <p:txBody>
          <a:bodyPr lIns="0" rIns="0">
            <a:noAutofit/>
          </a:bodyPr>
          <a:lstStyle>
            <a:lvl1pPr marL="216000" indent="-216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bg1"/>
                </a:solidFill>
              </a:defRPr>
            </a:lvl1pPr>
            <a:lvl2pPr marL="432000" indent="-19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2pPr>
            <a:lvl3pPr marL="612000" indent="-162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bg1"/>
                </a:solidFill>
              </a:defRPr>
            </a:lvl3pPr>
            <a:lvl4pPr marL="756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4pPr>
            <a:lvl5pPr marL="918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pl-PL"/>
              <a:t>Wprowadź 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3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4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36AC959-53E2-41AB-BB2F-E698FB1C9EA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936" y="6057900"/>
            <a:ext cx="11157128" cy="395288"/>
          </a:xfrm>
        </p:spPr>
        <p:txBody>
          <a:bodyPr lIns="0" tIns="36000" rIns="0" bIns="36000" anchor="b">
            <a:norm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staw stopkę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AA8AE36-8628-4F58-9238-AF2A99A938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31137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nagłówki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A93844E-36E8-4650-A521-8E14C1B0FA5B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AFEFC6F-11CC-44A9-85A8-EB6DC9234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18332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0263C8A-C9A6-4815-B60D-D295699FE9A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25716" y="2499318"/>
            <a:ext cx="5123991" cy="2410635"/>
          </a:xfrm>
        </p:spPr>
        <p:txBody>
          <a:bodyPr lIns="0" rIns="0">
            <a:noAutofit/>
          </a:bodyPr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bg1"/>
                </a:solidFill>
              </a:defRPr>
            </a:lvl1pPr>
            <a:lvl2pPr marL="432000" indent="-198000">
              <a:lnSpc>
                <a:spcPct val="100000"/>
              </a:lnSpc>
              <a:spcBef>
                <a:spcPts val="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2pPr>
            <a:lvl3pPr marL="612000" indent="-162000">
              <a:lnSpc>
                <a:spcPct val="100000"/>
              </a:lnSpc>
              <a:spcBef>
                <a:spcPts val="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bg1"/>
                </a:solidFill>
              </a:defRPr>
            </a:lvl3pPr>
            <a:lvl4pPr marL="756000" indent="-144000">
              <a:lnSpc>
                <a:spcPct val="100000"/>
              </a:lnSpc>
              <a:spcBef>
                <a:spcPts val="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4pPr>
            <a:lvl5pPr marL="918000" indent="-144000">
              <a:lnSpc>
                <a:spcPct val="100000"/>
              </a:lnSpc>
              <a:spcBef>
                <a:spcPts val="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pl-PL"/>
              <a:t>Wprowadź 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3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4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E0BC72-014D-4335-86B0-A5F4F36CE534}"/>
              </a:ext>
            </a:extLst>
          </p:cNvPr>
          <p:cNvSpPr txBox="1"/>
          <p:nvPr userDrawn="1"/>
        </p:nvSpPr>
        <p:spPr>
          <a:xfrm>
            <a:off x="8482627" y="865711"/>
            <a:ext cx="332921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Każde nowo wstawiane pole tekstowe zawiera </a:t>
            </a:r>
            <a:b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pl-PL" sz="1600" i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„</a:t>
            </a:r>
            <a:r>
              <a:rPr lang="pl-PL" sz="1600" i="1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żabkowy</a:t>
            </a:r>
            <a:r>
              <a:rPr lang="pl-PL" sz="1600" i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” </a:t>
            </a:r>
            <a:r>
              <a:rPr lang="pl-PL" sz="160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unktor</a:t>
            </a:r>
            <a: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</a:p>
          <a:p>
            <a:endParaRPr lang="pl-PL" sz="1600" kern="120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  <a:p>
            <a:r>
              <a:rPr lang="pl-PL" sz="1600" kern="12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Jeśli chcesz go usunąć </a:t>
            </a:r>
            <a: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– ustaw kursor tuż za nim i naciśnij na klawiaturze przycisk </a:t>
            </a:r>
            <a:r>
              <a:rPr lang="pl-PL" sz="1600" i="1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ackspace</a:t>
            </a:r>
            <a: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</a:t>
            </a:r>
          </a:p>
        </p:txBody>
      </p:sp>
      <p:pic>
        <p:nvPicPr>
          <p:cNvPr id="14" name="Obraz 13">
            <a:extLst>
              <a:ext uri="{FF2B5EF4-FFF2-40B4-BE49-F238E27FC236}">
                <a16:creationId xmlns:a16="http://schemas.microsoft.com/office/drawing/2014/main" id="{371728CD-1746-4522-8066-8986C73C4F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791" t="1585" r="15996" b="-1"/>
          <a:stretch/>
        </p:blipFill>
        <p:spPr>
          <a:xfrm>
            <a:off x="6401293" y="1004973"/>
            <a:ext cx="1910857" cy="1524981"/>
          </a:xfrm>
          <a:prstGeom prst="roundRect">
            <a:avLst>
              <a:gd name="adj" fmla="val 3566"/>
            </a:avLst>
          </a:prstGeom>
          <a:solidFill>
            <a:schemeClr val="bg1"/>
          </a:solidFill>
          <a:effectLst>
            <a:outerShdw blurRad="304800" dist="228600" dir="30600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15" name="Prostokąt: zaokrąglone rogi 14">
            <a:extLst>
              <a:ext uri="{FF2B5EF4-FFF2-40B4-BE49-F238E27FC236}">
                <a16:creationId xmlns:a16="http://schemas.microsoft.com/office/drawing/2014/main" id="{0E2BF44D-4F93-4C5B-8029-26EE6730540E}"/>
              </a:ext>
            </a:extLst>
          </p:cNvPr>
          <p:cNvSpPr/>
          <p:nvPr userDrawn="1"/>
        </p:nvSpPr>
        <p:spPr>
          <a:xfrm>
            <a:off x="6390499" y="2069555"/>
            <a:ext cx="222250" cy="186026"/>
          </a:xfrm>
          <a:prstGeom prst="roundRect">
            <a:avLst>
              <a:gd name="adj" fmla="val 2213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latin typeface="Calibri" panose="020F0502020204030204" pitchFamily="34" charset="0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BF8F1E3-800E-49EA-897B-64C55C33EE1B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196AD05-1D3D-4BF7-AE74-47CC4A7121A3}"/>
              </a:ext>
            </a:extLst>
          </p:cNvPr>
          <p:cNvSpPr/>
          <p:nvPr userDrawn="1"/>
        </p:nvSpPr>
        <p:spPr>
          <a:xfrm>
            <a:off x="515936" y="917470"/>
            <a:ext cx="5543550" cy="2736056"/>
          </a:xfrm>
          <a:prstGeom prst="roundRect">
            <a:avLst>
              <a:gd name="adj" fmla="val 1225"/>
            </a:avLst>
          </a:prstGeom>
          <a:solidFill>
            <a:schemeClr val="tx2"/>
          </a:solidFill>
          <a:ln w="952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pl-PL">
              <a:latin typeface="Calibri" panose="020F050202020403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3BEB369A-371D-4B43-AC0E-6D89710B19E4}"/>
              </a:ext>
            </a:extLst>
          </p:cNvPr>
          <p:cNvSpPr/>
          <p:nvPr userDrawn="1"/>
        </p:nvSpPr>
        <p:spPr>
          <a:xfrm>
            <a:off x="515936" y="3716338"/>
            <a:ext cx="5543550" cy="2736056"/>
          </a:xfrm>
          <a:prstGeom prst="roundRect">
            <a:avLst>
              <a:gd name="adj" fmla="val 1225"/>
            </a:avLst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l-PL">
              <a:latin typeface="Calibri" panose="020F050202020403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6742894-657B-407B-8E0F-CC2A943A8F2B}"/>
              </a:ext>
            </a:extLst>
          </p:cNvPr>
          <p:cNvSpPr/>
          <p:nvPr userDrawn="1"/>
        </p:nvSpPr>
        <p:spPr>
          <a:xfrm>
            <a:off x="6132512" y="3724171"/>
            <a:ext cx="5543550" cy="2736056"/>
          </a:xfrm>
          <a:prstGeom prst="roundRect">
            <a:avLst>
              <a:gd name="adj" fmla="val 1225"/>
            </a:avLst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l-PL">
              <a:latin typeface="Calibri" panose="020F050202020403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7DD6D6D-49DA-4A1A-ADA3-AEC4E25B5930}"/>
              </a:ext>
            </a:extLst>
          </p:cNvPr>
          <p:cNvSpPr txBox="1"/>
          <p:nvPr userDrawn="1"/>
        </p:nvSpPr>
        <p:spPr>
          <a:xfrm>
            <a:off x="6295144" y="2860877"/>
            <a:ext cx="554355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y wybrać inny kolor </a:t>
            </a:r>
            <a:r>
              <a:rPr lang="pl-PL" sz="160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unktora</a:t>
            </a:r>
            <a: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należy skopiować wybrane pole tekstowe z tego slajdu i pracować na nim.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BE685B8-3335-44C1-83B2-F050DF5B44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79362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5AD6CA3-817F-4021-B353-61702F8B076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5" y="908050"/>
            <a:ext cx="11157128" cy="865189"/>
          </a:xfrm>
        </p:spPr>
        <p:txBody>
          <a:bodyPr lIns="0" rIns="0">
            <a:noAutofit/>
          </a:bodyPr>
          <a:lstStyle>
            <a:lvl1pPr marL="216000" indent="-216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bg1"/>
                </a:solidFill>
              </a:defRPr>
            </a:lvl1pPr>
            <a:lvl2pPr marL="432000" indent="-19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2pPr>
            <a:lvl3pPr marL="612000" indent="-162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bg1"/>
                </a:solidFill>
              </a:defRPr>
            </a:lvl3pPr>
            <a:lvl4pPr marL="756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4pPr>
            <a:lvl5pPr marL="918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3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4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3C50EC0F-4342-48A3-92F2-71E8888147A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32514" y="1844675"/>
            <a:ext cx="5543549" cy="4608513"/>
          </a:xfrm>
          <a:prstGeom prst="roundRect">
            <a:avLst>
              <a:gd name="adj" fmla="val 2476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7DE077B-DA72-4BE6-8A1F-0CFDABD11DC6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0E160CC-B2D9-4D7A-9915-3C1D457045A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936" y="6057900"/>
            <a:ext cx="5072239" cy="395288"/>
          </a:xfrm>
        </p:spPr>
        <p:txBody>
          <a:bodyPr lIns="0" tIns="36000" rIns="0" bIns="36000" anchor="b">
            <a:norm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staw stopkę</a:t>
            </a:r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5B9F908-6D43-4CCB-AFBF-2EA36FCD8C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37311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214CBAAF-84B5-48E1-AD5B-AACCCE07E03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32514" y="908051"/>
            <a:ext cx="5548730" cy="5545138"/>
          </a:xfrm>
          <a:prstGeom prst="roundRect">
            <a:avLst>
              <a:gd name="adj" fmla="val 2141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CFED9EB-9CEF-479C-B89F-816D273A282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5" y="908050"/>
            <a:ext cx="5072240" cy="5076825"/>
          </a:xfrm>
        </p:spPr>
        <p:txBody>
          <a:bodyPr lIns="0" rIns="0">
            <a:noAutofit/>
          </a:bodyPr>
          <a:lstStyle>
            <a:lvl1pPr marL="216000" indent="-216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bg1"/>
                </a:solidFill>
              </a:defRPr>
            </a:lvl1pPr>
            <a:lvl2pPr marL="432000" indent="-19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2pPr>
            <a:lvl3pPr marL="612000" indent="-162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bg1"/>
                </a:solidFill>
              </a:defRPr>
            </a:lvl3pPr>
            <a:lvl4pPr marL="756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4pPr>
            <a:lvl5pPr marL="918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3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4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5B10DEC5-29C9-46D6-8F0F-ED8ED28236AC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191D707-6C8E-4CBE-8592-69768DA9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936" y="6057900"/>
            <a:ext cx="5072239" cy="395288"/>
          </a:xfrm>
        </p:spPr>
        <p:txBody>
          <a:bodyPr lIns="0" tIns="36000" rIns="0" bIns="36000" anchor="b">
            <a:norm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staw stopkę</a:t>
            </a:r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BE9B250-DB8C-4926-97C6-BBE703F425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3159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zema kolumna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99">
            <a:extLst>
              <a:ext uri="{FF2B5EF4-FFF2-40B4-BE49-F238E27FC236}">
                <a16:creationId xmlns:a16="http://schemas.microsoft.com/office/drawing/2014/main" id="{1DB78240-77B8-488E-9F8E-E9BF131BF597}"/>
              </a:ext>
            </a:extLst>
          </p:cNvPr>
          <p:cNvSpPr/>
          <p:nvPr userDrawn="1"/>
        </p:nvSpPr>
        <p:spPr>
          <a:xfrm>
            <a:off x="1460499" y="2323527"/>
            <a:ext cx="2727325" cy="412966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C606DC1A-A769-48BE-8FE7-1CFAA7EBD51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60499" y="2323526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EDABBE9-3498-44F6-89C6-5420055B092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4" y="910383"/>
            <a:ext cx="11157129" cy="856505"/>
          </a:xfrm>
          <a:prstGeom prst="roundRect">
            <a:avLst>
              <a:gd name="adj" fmla="val 9260"/>
            </a:avLst>
          </a:prstGeom>
          <a:ln>
            <a:solidFill>
              <a:schemeClr val="bg1"/>
            </a:solidFill>
          </a:ln>
        </p:spPr>
        <p:txBody>
          <a:bodyPr anchor="ctr">
            <a:noAutofit/>
          </a:bodyPr>
          <a:lstStyle>
            <a:lvl1pPr marL="216000" indent="-216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bg1"/>
                </a:solidFill>
              </a:defRPr>
            </a:lvl1pPr>
            <a:lvl2pPr marL="432000" indent="-198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2pPr>
            <a:lvl3pPr marL="612000" indent="-162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bg1"/>
                </a:solidFill>
              </a:defRPr>
            </a:lvl3pPr>
            <a:lvl4pPr marL="756000" indent="-144000" algn="ctr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FF17305-4F64-4A82-89F8-807382E618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4442" y="3730893"/>
            <a:ext cx="2499438" cy="131894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C9DABEEB-4179-4F62-9A05-52445C24418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574443" y="5121275"/>
            <a:ext cx="2499436" cy="125364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bject 299">
            <a:extLst>
              <a:ext uri="{FF2B5EF4-FFF2-40B4-BE49-F238E27FC236}">
                <a16:creationId xmlns:a16="http://schemas.microsoft.com/office/drawing/2014/main" id="{C4859652-3F25-4CDB-857E-F4E823DE4231}"/>
              </a:ext>
            </a:extLst>
          </p:cNvPr>
          <p:cNvSpPr/>
          <p:nvPr userDrawn="1"/>
        </p:nvSpPr>
        <p:spPr>
          <a:xfrm>
            <a:off x="4727575" y="2325115"/>
            <a:ext cx="2727325" cy="412966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437E37-3FDD-4EF4-A6A5-B118F729BF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27575" y="2325114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69DD515C-CAB3-4589-889D-E43FBFB0582E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841518" y="3732481"/>
            <a:ext cx="2499438" cy="131894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Content Placeholder 3">
            <a:extLst>
              <a:ext uri="{FF2B5EF4-FFF2-40B4-BE49-F238E27FC236}">
                <a16:creationId xmlns:a16="http://schemas.microsoft.com/office/drawing/2014/main" id="{CBF580B3-BDD8-487E-8A34-E7679A97DB4C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841519" y="5122863"/>
            <a:ext cx="2499436" cy="125364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object 299">
            <a:extLst>
              <a:ext uri="{FF2B5EF4-FFF2-40B4-BE49-F238E27FC236}">
                <a16:creationId xmlns:a16="http://schemas.microsoft.com/office/drawing/2014/main" id="{4A957D4B-7D6A-4B46-9468-D605AF66ABE1}"/>
              </a:ext>
            </a:extLst>
          </p:cNvPr>
          <p:cNvSpPr/>
          <p:nvPr userDrawn="1"/>
        </p:nvSpPr>
        <p:spPr>
          <a:xfrm>
            <a:off x="8004176" y="2323527"/>
            <a:ext cx="2727325" cy="412966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67" name="Picture Placeholder 3">
            <a:extLst>
              <a:ext uri="{FF2B5EF4-FFF2-40B4-BE49-F238E27FC236}">
                <a16:creationId xmlns:a16="http://schemas.microsoft.com/office/drawing/2014/main" id="{83CD2374-F37A-453A-BF60-9277B32B43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04176" y="2323526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CA7E742F-DFD7-468F-B439-62D3D10E3CFB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118119" y="3730893"/>
            <a:ext cx="2499438" cy="131894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Content Placeholder 3">
            <a:extLst>
              <a:ext uri="{FF2B5EF4-FFF2-40B4-BE49-F238E27FC236}">
                <a16:creationId xmlns:a16="http://schemas.microsoft.com/office/drawing/2014/main" id="{C4D0B7A7-762E-434D-BFCC-F39D5D4425AD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118120" y="5121275"/>
            <a:ext cx="2499436" cy="125364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01FFBF68-8595-4A8B-83E4-651F6F85F063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31EC9A1-1929-4DE3-844F-1D916B5754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5362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zema kolumnam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99">
            <a:extLst>
              <a:ext uri="{FF2B5EF4-FFF2-40B4-BE49-F238E27FC236}">
                <a16:creationId xmlns:a16="http://schemas.microsoft.com/office/drawing/2014/main" id="{1DB78240-77B8-488E-9F8E-E9BF131BF597}"/>
              </a:ext>
            </a:extLst>
          </p:cNvPr>
          <p:cNvSpPr/>
          <p:nvPr userDrawn="1"/>
        </p:nvSpPr>
        <p:spPr>
          <a:xfrm>
            <a:off x="1460499" y="1383253"/>
            <a:ext cx="2727325" cy="460162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C606DC1A-A769-48BE-8FE7-1CFAA7EBD51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60499" y="1383252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Wprowadź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FF17305-4F64-4A82-89F8-807382E618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4442" y="2781301"/>
            <a:ext cx="2499438" cy="1552546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C9DABEEB-4179-4F62-9A05-52445C24418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574443" y="4405283"/>
            <a:ext cx="2499436" cy="140858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bject 299">
            <a:extLst>
              <a:ext uri="{FF2B5EF4-FFF2-40B4-BE49-F238E27FC236}">
                <a16:creationId xmlns:a16="http://schemas.microsoft.com/office/drawing/2014/main" id="{C4859652-3F25-4CDB-857E-F4E823DE4231}"/>
              </a:ext>
            </a:extLst>
          </p:cNvPr>
          <p:cNvSpPr/>
          <p:nvPr userDrawn="1"/>
        </p:nvSpPr>
        <p:spPr>
          <a:xfrm>
            <a:off x="4727575" y="1384841"/>
            <a:ext cx="2727325" cy="460162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437E37-3FDD-4EF4-A6A5-B118F729BF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27575" y="1384840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69DD515C-CAB3-4589-889D-E43FBFB0582E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841518" y="2782889"/>
            <a:ext cx="2499438" cy="1552546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Content Placeholder 3">
            <a:extLst>
              <a:ext uri="{FF2B5EF4-FFF2-40B4-BE49-F238E27FC236}">
                <a16:creationId xmlns:a16="http://schemas.microsoft.com/office/drawing/2014/main" id="{CBF580B3-BDD8-487E-8A34-E7679A97DB4C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841519" y="4406871"/>
            <a:ext cx="2499436" cy="140858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object 299">
            <a:extLst>
              <a:ext uri="{FF2B5EF4-FFF2-40B4-BE49-F238E27FC236}">
                <a16:creationId xmlns:a16="http://schemas.microsoft.com/office/drawing/2014/main" id="{4A957D4B-7D6A-4B46-9468-D605AF66ABE1}"/>
              </a:ext>
            </a:extLst>
          </p:cNvPr>
          <p:cNvSpPr/>
          <p:nvPr userDrawn="1"/>
        </p:nvSpPr>
        <p:spPr>
          <a:xfrm>
            <a:off x="8004176" y="1383253"/>
            <a:ext cx="2727325" cy="460162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67" name="Picture Placeholder 3">
            <a:extLst>
              <a:ext uri="{FF2B5EF4-FFF2-40B4-BE49-F238E27FC236}">
                <a16:creationId xmlns:a16="http://schemas.microsoft.com/office/drawing/2014/main" id="{83CD2374-F37A-453A-BF60-9277B32B43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04176" y="1383252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CA7E742F-DFD7-468F-B439-62D3D10E3CFB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118119" y="2781301"/>
            <a:ext cx="2499438" cy="1552546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Content Placeholder 3">
            <a:extLst>
              <a:ext uri="{FF2B5EF4-FFF2-40B4-BE49-F238E27FC236}">
                <a16:creationId xmlns:a16="http://schemas.microsoft.com/office/drawing/2014/main" id="{C4D0B7A7-762E-434D-BFCC-F39D5D4425AD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118120" y="4405283"/>
            <a:ext cx="2499436" cy="140858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269F01D8-6E9F-412A-8CE7-9D28F2218393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F551461-4968-496F-BF43-54A39BC99C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1198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i tabel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299">
            <a:extLst>
              <a:ext uri="{FF2B5EF4-FFF2-40B4-BE49-F238E27FC236}">
                <a16:creationId xmlns:a16="http://schemas.microsoft.com/office/drawing/2014/main" id="{54FCE9E5-8A99-42A4-9FF4-5ACC7E222D90}"/>
              </a:ext>
            </a:extLst>
          </p:cNvPr>
          <p:cNvSpPr/>
          <p:nvPr userDrawn="1"/>
        </p:nvSpPr>
        <p:spPr>
          <a:xfrm>
            <a:off x="515937" y="1844676"/>
            <a:ext cx="3671887" cy="4614594"/>
          </a:xfrm>
          <a:prstGeom prst="roundRect">
            <a:avLst>
              <a:gd name="adj" fmla="val 1765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Wprowadź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EDABBE9-3498-44F6-89C6-5420055B092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4" y="910383"/>
            <a:ext cx="11157129" cy="856505"/>
          </a:xfrm>
          <a:prstGeom prst="roundRect">
            <a:avLst>
              <a:gd name="adj" fmla="val 9260"/>
            </a:avLst>
          </a:prstGeom>
          <a:ln>
            <a:solidFill>
              <a:schemeClr val="bg1"/>
            </a:solidFill>
          </a:ln>
        </p:spPr>
        <p:txBody>
          <a:bodyPr anchor="ctr">
            <a:noAutofit/>
          </a:bodyPr>
          <a:lstStyle>
            <a:lvl1pPr marL="216000" indent="-216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bg1"/>
                </a:solidFill>
              </a:defRPr>
            </a:lvl1pPr>
            <a:lvl2pPr marL="432000" indent="-198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2pPr>
            <a:lvl3pPr marL="612000" indent="-162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bg1"/>
                </a:solidFill>
              </a:defRPr>
            </a:lvl3pPr>
            <a:lvl4pPr marL="756000" indent="-144000" algn="ctr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1E2B0F4D-507D-4C1A-BEF4-41FA5EDC8E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259263" y="1844676"/>
            <a:ext cx="6950075" cy="2736850"/>
          </a:xfrm>
          <a:prstGeom prst="roundRect">
            <a:avLst>
              <a:gd name="adj" fmla="val 2141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en-GB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  <a:endParaRPr lang="en-GB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D7A0508A-3C91-4C46-9E3F-B9584B483658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83851" y="1995835"/>
            <a:ext cx="3336058" cy="4312276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16000" indent="-216000" algn="l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1pPr>
            <a:lvl2pPr marL="432000" indent="-198000" algn="l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00">
                <a:solidFill>
                  <a:schemeClr val="accent1"/>
                </a:solidFill>
              </a:defRPr>
            </a:lvl2pPr>
            <a:lvl3pPr marL="612000" indent="-162000" algn="l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>
                <a:tab pos="1076325" algn="l"/>
              </a:tabLst>
              <a:defRPr sz="12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41431CA-91F6-4352-820C-2B934FE8333F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4" name="Text Placeholder 47">
            <a:extLst>
              <a:ext uri="{FF2B5EF4-FFF2-40B4-BE49-F238E27FC236}">
                <a16:creationId xmlns:a16="http://schemas.microsoft.com/office/drawing/2014/main" id="{90306C82-748C-4236-A38E-FE6B6C00B0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27575" y="3716338"/>
            <a:ext cx="6948487" cy="2736849"/>
          </a:xfrm>
          <a:prstGeom prst="roundRect">
            <a:avLst>
              <a:gd name="adj" fmla="val 2224"/>
            </a:avLst>
          </a:prstGeom>
          <a:solidFill>
            <a:schemeClr val="bg1"/>
          </a:solidFill>
          <a:effectLst>
            <a:outerShdw blurRad="3048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18" name="Table Placeholder 7">
            <a:extLst>
              <a:ext uri="{FF2B5EF4-FFF2-40B4-BE49-F238E27FC236}">
                <a16:creationId xmlns:a16="http://schemas.microsoft.com/office/drawing/2014/main" id="{B1C4C2F8-3503-4778-9B51-7DEC71E481A5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4725988" y="3716338"/>
            <a:ext cx="6950075" cy="2736850"/>
          </a:xfrm>
          <a:prstGeom prst="roundRect">
            <a:avLst>
              <a:gd name="adj" fmla="val 2451"/>
            </a:avLst>
          </a:prstGeom>
          <a:noFill/>
          <a:effectLst/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en-GB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tabelę</a:t>
            </a:r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6195629-9C6B-47D2-896F-4B0338D465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90252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wykre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299">
            <a:extLst>
              <a:ext uri="{FF2B5EF4-FFF2-40B4-BE49-F238E27FC236}">
                <a16:creationId xmlns:a16="http://schemas.microsoft.com/office/drawing/2014/main" id="{E822FCE5-67C7-45A4-B632-162128B1736A}"/>
              </a:ext>
            </a:extLst>
          </p:cNvPr>
          <p:cNvSpPr/>
          <p:nvPr userDrawn="1"/>
        </p:nvSpPr>
        <p:spPr>
          <a:xfrm>
            <a:off x="518935" y="908050"/>
            <a:ext cx="11160126" cy="393768"/>
          </a:xfrm>
          <a:prstGeom prst="roundRect">
            <a:avLst>
              <a:gd name="adj" fmla="val 1446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 fontScale="85000" lnSpcReduction="20000"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object 299">
            <a:extLst>
              <a:ext uri="{FF2B5EF4-FFF2-40B4-BE49-F238E27FC236}">
                <a16:creationId xmlns:a16="http://schemas.microsoft.com/office/drawing/2014/main" id="{54FCE9E5-8A99-42A4-9FF4-5ACC7E222D90}"/>
              </a:ext>
            </a:extLst>
          </p:cNvPr>
          <p:cNvSpPr/>
          <p:nvPr userDrawn="1"/>
        </p:nvSpPr>
        <p:spPr>
          <a:xfrm>
            <a:off x="515937" y="1376365"/>
            <a:ext cx="11160126" cy="5082905"/>
          </a:xfrm>
          <a:prstGeom prst="roundRect">
            <a:avLst>
              <a:gd name="adj" fmla="val 1390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6FD38201-F2C9-406F-BF68-01989DB8937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450976" y="1844675"/>
            <a:ext cx="9290050" cy="4140200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D6ECF79-5126-475E-AE7D-9E9417C7998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0959" y="919757"/>
            <a:ext cx="10890082" cy="37035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3AE21B0-651A-4B8D-95AC-A3C7C3C68EFC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3C36F7E-A6D2-4E47-ABD6-CEE2B2055E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78272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zekładk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704AC54-5984-4EAB-99BC-5140110A156D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FF2DF2DB-CD1D-43CD-AA7A-0B919525E86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</p:spPr>
        <p:txBody>
          <a:bodyPr lIns="144000" tIns="144000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zdjęcie</a:t>
            </a:r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8BAE56DC-67FE-45CE-AA2E-B37DD136E1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1063" y="2351816"/>
            <a:ext cx="5685732" cy="2152644"/>
          </a:xfrm>
          <a:custGeom>
            <a:avLst/>
            <a:gdLst>
              <a:gd name="connsiteX0" fmla="*/ 76200 w 5685732"/>
              <a:gd name="connsiteY0" fmla="*/ 0 h 2152644"/>
              <a:gd name="connsiteX1" fmla="*/ 5609532 w 5685732"/>
              <a:gd name="connsiteY1" fmla="*/ 0 h 2152644"/>
              <a:gd name="connsiteX2" fmla="*/ 5685732 w 5685732"/>
              <a:gd name="connsiteY2" fmla="*/ 76200 h 2152644"/>
              <a:gd name="connsiteX3" fmla="*/ 5685732 w 5685732"/>
              <a:gd name="connsiteY3" fmla="*/ 2076445 h 2152644"/>
              <a:gd name="connsiteX4" fmla="*/ 5609532 w 5685732"/>
              <a:gd name="connsiteY4" fmla="*/ 2152644 h 2152644"/>
              <a:gd name="connsiteX5" fmla="*/ 76200 w 5685732"/>
              <a:gd name="connsiteY5" fmla="*/ 2152644 h 2152644"/>
              <a:gd name="connsiteX6" fmla="*/ 0 w 5685732"/>
              <a:gd name="connsiteY6" fmla="*/ 2076445 h 2152644"/>
              <a:gd name="connsiteX7" fmla="*/ 0 w 5685732"/>
              <a:gd name="connsiteY7" fmla="*/ 76200 h 2152644"/>
              <a:gd name="connsiteX8" fmla="*/ 76200 w 5685732"/>
              <a:gd name="connsiteY8" fmla="*/ 0 h 2152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85732" h="2152644">
                <a:moveTo>
                  <a:pt x="76200" y="0"/>
                </a:moveTo>
                <a:lnTo>
                  <a:pt x="5609532" y="0"/>
                </a:lnTo>
                <a:cubicBezTo>
                  <a:pt x="5651620" y="0"/>
                  <a:pt x="5685732" y="34118"/>
                  <a:pt x="5685732" y="76200"/>
                </a:cubicBezTo>
                <a:lnTo>
                  <a:pt x="5685732" y="2076445"/>
                </a:lnTo>
                <a:cubicBezTo>
                  <a:pt x="5685732" y="2118526"/>
                  <a:pt x="5651620" y="2152644"/>
                  <a:pt x="5609532" y="2152644"/>
                </a:cubicBezTo>
                <a:lnTo>
                  <a:pt x="76200" y="2152644"/>
                </a:lnTo>
                <a:cubicBezTo>
                  <a:pt x="34119" y="2152644"/>
                  <a:pt x="0" y="2118526"/>
                  <a:pt x="0" y="2076445"/>
                </a:cubicBezTo>
                <a:lnTo>
                  <a:pt x="0" y="76200"/>
                </a:lnTo>
                <a:cubicBezTo>
                  <a:pt x="0" y="34118"/>
                  <a:pt x="34119" y="0"/>
                  <a:pt x="76200" y="0"/>
                </a:cubicBezTo>
                <a:close/>
              </a:path>
            </a:pathLst>
          </a:custGeom>
          <a:solidFill>
            <a:schemeClr val="bg1">
              <a:alpha val="91000"/>
            </a:schemeClr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17254E-F2D6-4AD8-9D9F-00003AB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19638" y="2352707"/>
            <a:ext cx="5685730" cy="2152644"/>
          </a:xfrm>
        </p:spPr>
        <p:txBody>
          <a:bodyPr anchor="ctr">
            <a:no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r>
              <a:rPr lang="en-US"/>
              <a:t> </a:t>
            </a:r>
            <a:r>
              <a:rPr lang="en-US" err="1"/>
              <a:t>przekładk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3625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dwoma wykresa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299">
            <a:extLst>
              <a:ext uri="{FF2B5EF4-FFF2-40B4-BE49-F238E27FC236}">
                <a16:creationId xmlns:a16="http://schemas.microsoft.com/office/drawing/2014/main" id="{E822FCE5-67C7-45A4-B632-162128B1736A}"/>
              </a:ext>
            </a:extLst>
          </p:cNvPr>
          <p:cNvSpPr/>
          <p:nvPr userDrawn="1"/>
        </p:nvSpPr>
        <p:spPr>
          <a:xfrm>
            <a:off x="518935" y="1379547"/>
            <a:ext cx="11160126" cy="393768"/>
          </a:xfrm>
          <a:prstGeom prst="roundRect">
            <a:avLst>
              <a:gd name="adj" fmla="val 1446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 fontScale="85000" lnSpcReduction="20000"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D6ECF79-5126-475E-AE7D-9E9417C7998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0959" y="1391254"/>
            <a:ext cx="10890082" cy="37035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0" name="object 299">
            <a:extLst>
              <a:ext uri="{FF2B5EF4-FFF2-40B4-BE49-F238E27FC236}">
                <a16:creationId xmlns:a16="http://schemas.microsoft.com/office/drawing/2014/main" id="{85FFA50F-55DF-4399-9D18-9AA7A2D7760A}"/>
              </a:ext>
            </a:extLst>
          </p:cNvPr>
          <p:cNvSpPr/>
          <p:nvPr userDrawn="1"/>
        </p:nvSpPr>
        <p:spPr>
          <a:xfrm>
            <a:off x="515938" y="1848184"/>
            <a:ext cx="11160126" cy="2274620"/>
          </a:xfrm>
          <a:prstGeom prst="roundRect">
            <a:avLst>
              <a:gd name="adj" fmla="val 29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A7E2789C-2493-4DE6-A1C1-CCD4BFADA6CD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324225" y="2316496"/>
            <a:ext cx="7885113" cy="1331912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3125072-8EE2-442B-81D1-4AB4EC89FCF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82664" y="2945180"/>
            <a:ext cx="1800226" cy="370355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r>
              <a:rPr lang="en-US"/>
              <a:t> </a:t>
            </a:r>
            <a:r>
              <a:rPr lang="en-US" err="1"/>
              <a:t>wykresu</a:t>
            </a:r>
            <a:endParaRPr lang="en-US"/>
          </a:p>
        </p:txBody>
      </p:sp>
      <p:sp>
        <p:nvSpPr>
          <p:cNvPr id="23" name="object 299">
            <a:extLst>
              <a:ext uri="{FF2B5EF4-FFF2-40B4-BE49-F238E27FC236}">
                <a16:creationId xmlns:a16="http://schemas.microsoft.com/office/drawing/2014/main" id="{54FCE9E5-8A99-42A4-9FF4-5ACC7E222D90}"/>
              </a:ext>
            </a:extLst>
          </p:cNvPr>
          <p:cNvSpPr/>
          <p:nvPr userDrawn="1"/>
        </p:nvSpPr>
        <p:spPr>
          <a:xfrm>
            <a:off x="515937" y="4184651"/>
            <a:ext cx="11160126" cy="2274620"/>
          </a:xfrm>
          <a:prstGeom prst="roundRect">
            <a:avLst>
              <a:gd name="adj" fmla="val 29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6FD38201-F2C9-406F-BF68-01989DB8937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324224" y="4652963"/>
            <a:ext cx="7885113" cy="1331912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1D6AE56-B51B-4354-ADE9-0A5717CB03A5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663" y="5281647"/>
            <a:ext cx="1800226" cy="370355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r>
              <a:rPr lang="en-US"/>
              <a:t> </a:t>
            </a:r>
            <a:r>
              <a:rPr lang="en-US" err="1"/>
              <a:t>wykresu</a:t>
            </a:r>
            <a:endParaRPr lang="en-US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99F77FC7-86A0-4B5F-837E-6E50FFCC7953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9AA67F2-80AA-4740-876B-4D341C704B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82196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dwoma wykresam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299">
            <a:extLst>
              <a:ext uri="{FF2B5EF4-FFF2-40B4-BE49-F238E27FC236}">
                <a16:creationId xmlns:a16="http://schemas.microsoft.com/office/drawing/2014/main" id="{A37BDAD5-064F-40AF-B88A-464BF0E58738}"/>
              </a:ext>
            </a:extLst>
          </p:cNvPr>
          <p:cNvSpPr/>
          <p:nvPr userDrawn="1"/>
        </p:nvSpPr>
        <p:spPr>
          <a:xfrm>
            <a:off x="514350" y="908050"/>
            <a:ext cx="2268538" cy="1800225"/>
          </a:xfrm>
          <a:prstGeom prst="roundRect">
            <a:avLst>
              <a:gd name="adj" fmla="val 3093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38" name="object 299">
            <a:extLst>
              <a:ext uri="{FF2B5EF4-FFF2-40B4-BE49-F238E27FC236}">
                <a16:creationId xmlns:a16="http://schemas.microsoft.com/office/drawing/2014/main" id="{7BD1B61A-D58C-49B5-8D57-047455254516}"/>
              </a:ext>
            </a:extLst>
          </p:cNvPr>
          <p:cNvSpPr/>
          <p:nvPr userDrawn="1"/>
        </p:nvSpPr>
        <p:spPr>
          <a:xfrm>
            <a:off x="2861470" y="908050"/>
            <a:ext cx="2268538" cy="1800225"/>
          </a:xfrm>
          <a:prstGeom prst="roundRect">
            <a:avLst>
              <a:gd name="adj" fmla="val 3093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7" name="object 299">
            <a:extLst>
              <a:ext uri="{FF2B5EF4-FFF2-40B4-BE49-F238E27FC236}">
                <a16:creationId xmlns:a16="http://schemas.microsoft.com/office/drawing/2014/main" id="{A5FF034B-9005-47EB-BA82-66465C4F2112}"/>
              </a:ext>
            </a:extLst>
          </p:cNvPr>
          <p:cNvSpPr/>
          <p:nvPr userDrawn="1"/>
        </p:nvSpPr>
        <p:spPr>
          <a:xfrm>
            <a:off x="5195888" y="908050"/>
            <a:ext cx="6480176" cy="1800225"/>
          </a:xfrm>
          <a:prstGeom prst="roundRect">
            <a:avLst>
              <a:gd name="adj" fmla="val 29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object 299">
            <a:extLst>
              <a:ext uri="{FF2B5EF4-FFF2-40B4-BE49-F238E27FC236}">
                <a16:creationId xmlns:a16="http://schemas.microsoft.com/office/drawing/2014/main" id="{5C9E4300-9A95-4C17-B86E-D2721C997FE0}"/>
              </a:ext>
            </a:extLst>
          </p:cNvPr>
          <p:cNvSpPr/>
          <p:nvPr userDrawn="1"/>
        </p:nvSpPr>
        <p:spPr>
          <a:xfrm>
            <a:off x="515937" y="2781300"/>
            <a:ext cx="5543551" cy="3203575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32" name="Chart Placeholder 3">
            <a:extLst>
              <a:ext uri="{FF2B5EF4-FFF2-40B4-BE49-F238E27FC236}">
                <a16:creationId xmlns:a16="http://schemas.microsoft.com/office/drawing/2014/main" id="{081791D1-C171-484B-B967-D9FEF829542F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776287" y="3496225"/>
            <a:ext cx="5022850" cy="2294476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B9E15331-7B72-4588-9E11-96A097873506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76287" y="2991421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0" name="object 299">
            <a:extLst>
              <a:ext uri="{FF2B5EF4-FFF2-40B4-BE49-F238E27FC236}">
                <a16:creationId xmlns:a16="http://schemas.microsoft.com/office/drawing/2014/main" id="{85FFA50F-55DF-4399-9D18-9AA7A2D7760A}"/>
              </a:ext>
            </a:extLst>
          </p:cNvPr>
          <p:cNvSpPr/>
          <p:nvPr userDrawn="1"/>
        </p:nvSpPr>
        <p:spPr>
          <a:xfrm>
            <a:off x="6132512" y="2781300"/>
            <a:ext cx="5543551" cy="3203575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A7E2789C-2493-4DE6-A1C1-CCD4BFADA6CD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392862" y="3496225"/>
            <a:ext cx="5022850" cy="2294476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3125072-8EE2-442B-81D1-4AB4EC89FCF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92862" y="2991421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40" name="Chart Placeholder 3">
            <a:extLst>
              <a:ext uri="{FF2B5EF4-FFF2-40B4-BE49-F238E27FC236}">
                <a16:creationId xmlns:a16="http://schemas.microsoft.com/office/drawing/2014/main" id="{1D8A5140-B80E-41E5-964B-C9629A88C871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5456241" y="1596746"/>
            <a:ext cx="5959472" cy="924571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2DA05BE-1BA0-4E81-8757-CBC19A513BA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90578" y="1622985"/>
            <a:ext cx="1916083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ekst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7316233-F1D2-451E-96DD-04A67545238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037698" y="1622985"/>
            <a:ext cx="1916083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6FF1980B-3D87-4AD9-B044-1F45DDB06D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5938" y="6059488"/>
            <a:ext cx="2735262" cy="395288"/>
          </a:xfrm>
          <a:prstGeom prst="round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en-US" sz="1400" b="1" noProof="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pl-PL" noProof="0"/>
              <a:t>Wprowadź tekst</a:t>
            </a:r>
            <a:endParaRPr lang="en-US" noProof="0"/>
          </a:p>
        </p:txBody>
      </p:sp>
      <p:sp>
        <p:nvSpPr>
          <p:cNvPr id="44" name="Text Placeholder 47">
            <a:extLst>
              <a:ext uri="{FF2B5EF4-FFF2-40B4-BE49-F238E27FC236}">
                <a16:creationId xmlns:a16="http://schemas.microsoft.com/office/drawing/2014/main" id="{DB331F1C-0529-47E9-8F74-C51322DB4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225" y="6059488"/>
            <a:ext cx="2735262" cy="395288"/>
          </a:xfrm>
          <a:prstGeom prst="round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en-US" sz="1400" b="1" noProof="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pl-PL" noProof="0"/>
              <a:t>Wprowadź tekst</a:t>
            </a:r>
            <a:endParaRPr lang="en-US" noProof="0"/>
          </a:p>
        </p:txBody>
      </p:sp>
      <p:sp>
        <p:nvSpPr>
          <p:cNvPr id="47" name="Text Placeholder 47">
            <a:extLst>
              <a:ext uri="{FF2B5EF4-FFF2-40B4-BE49-F238E27FC236}">
                <a16:creationId xmlns:a16="http://schemas.microsoft.com/office/drawing/2014/main" id="{7A875088-7DD7-4DB6-97BF-F91DAE10D1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32513" y="6059488"/>
            <a:ext cx="2735262" cy="395288"/>
          </a:xfrm>
          <a:prstGeom prst="round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en-US" sz="1400" b="1" noProof="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pl-PL" noProof="0"/>
              <a:t>Wprowadź tekst</a:t>
            </a:r>
            <a:endParaRPr lang="en-US" noProof="0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08FFCBF5-79D9-4F64-87CF-0D3797759B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40800" y="6059488"/>
            <a:ext cx="2735262" cy="395288"/>
          </a:xfrm>
          <a:prstGeom prst="round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en-US" sz="1400" b="1" noProof="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pl-PL" noProof="0"/>
              <a:t>Wprowadź tekst</a:t>
            </a:r>
            <a:endParaRPr lang="en-US" noProof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F4A3F1FF-3A3D-49F9-90CA-E0A06190211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5456240" y="1091942"/>
            <a:ext cx="5959471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14DD8260-1500-4A64-95C6-0A853C0A8CC7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FC213A28-7DB6-4FC7-9FBB-84BA3A69CA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08796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czterema wykresa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bject 299">
            <a:extLst>
              <a:ext uri="{FF2B5EF4-FFF2-40B4-BE49-F238E27FC236}">
                <a16:creationId xmlns:a16="http://schemas.microsoft.com/office/drawing/2014/main" id="{BAB767D8-D719-40F1-BDD1-5C9FAC0EDAD5}"/>
              </a:ext>
            </a:extLst>
          </p:cNvPr>
          <p:cNvSpPr/>
          <p:nvPr userDrawn="1"/>
        </p:nvSpPr>
        <p:spPr>
          <a:xfrm>
            <a:off x="515937" y="909265"/>
            <a:ext cx="5543551" cy="2739053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Chart Placeholder 3">
            <a:extLst>
              <a:ext uri="{FF2B5EF4-FFF2-40B4-BE49-F238E27FC236}">
                <a16:creationId xmlns:a16="http://schemas.microsoft.com/office/drawing/2014/main" id="{F96AAF4F-E421-498A-8EFB-E56B9160D0D9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776287" y="1555908"/>
            <a:ext cx="5022850" cy="1915898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2E2D4C7-D438-4EF8-99F3-5CE7103453F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76287" y="1051104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54" name="object 299">
            <a:extLst>
              <a:ext uri="{FF2B5EF4-FFF2-40B4-BE49-F238E27FC236}">
                <a16:creationId xmlns:a16="http://schemas.microsoft.com/office/drawing/2014/main" id="{56E1226E-CEB8-48BB-8436-C94AE4C02934}"/>
              </a:ext>
            </a:extLst>
          </p:cNvPr>
          <p:cNvSpPr/>
          <p:nvPr userDrawn="1"/>
        </p:nvSpPr>
        <p:spPr>
          <a:xfrm>
            <a:off x="6132512" y="909265"/>
            <a:ext cx="5543551" cy="2739053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55" name="Chart Placeholder 3">
            <a:extLst>
              <a:ext uri="{FF2B5EF4-FFF2-40B4-BE49-F238E27FC236}">
                <a16:creationId xmlns:a16="http://schemas.microsoft.com/office/drawing/2014/main" id="{DAC0ADE8-D503-4108-9F80-583B50FB4C57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392862" y="1555908"/>
            <a:ext cx="5022850" cy="1915898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436EDB1-7FCA-4DAF-947B-2F032CE5D4E0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92862" y="1051104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0" name="object 299">
            <a:extLst>
              <a:ext uri="{FF2B5EF4-FFF2-40B4-BE49-F238E27FC236}">
                <a16:creationId xmlns:a16="http://schemas.microsoft.com/office/drawing/2014/main" id="{5C9E4300-9A95-4C17-B86E-D2721C997FE0}"/>
              </a:ext>
            </a:extLst>
          </p:cNvPr>
          <p:cNvSpPr/>
          <p:nvPr userDrawn="1"/>
        </p:nvSpPr>
        <p:spPr>
          <a:xfrm>
            <a:off x="515937" y="3716339"/>
            <a:ext cx="5543551" cy="2739053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32" name="Chart Placeholder 3">
            <a:extLst>
              <a:ext uri="{FF2B5EF4-FFF2-40B4-BE49-F238E27FC236}">
                <a16:creationId xmlns:a16="http://schemas.microsoft.com/office/drawing/2014/main" id="{081791D1-C171-484B-B967-D9FEF829542F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776287" y="4362982"/>
            <a:ext cx="5022850" cy="1915898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B9E15331-7B72-4588-9E11-96A097873506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76287" y="3858178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0" name="object 299">
            <a:extLst>
              <a:ext uri="{FF2B5EF4-FFF2-40B4-BE49-F238E27FC236}">
                <a16:creationId xmlns:a16="http://schemas.microsoft.com/office/drawing/2014/main" id="{85FFA50F-55DF-4399-9D18-9AA7A2D7760A}"/>
              </a:ext>
            </a:extLst>
          </p:cNvPr>
          <p:cNvSpPr/>
          <p:nvPr userDrawn="1"/>
        </p:nvSpPr>
        <p:spPr>
          <a:xfrm>
            <a:off x="6132512" y="3716339"/>
            <a:ext cx="5543551" cy="2739053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A7E2789C-2493-4DE6-A1C1-CCD4BFADA6CD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392862" y="4362982"/>
            <a:ext cx="5022850" cy="1915898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3125072-8EE2-442B-81D1-4AB4EC89FCF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92862" y="3858178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934C72C-CDBC-4F69-9A0E-70EC3CC7EF14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C1232BC-9B55-4B8E-BEDC-59B34697B6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09610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czterema zdjęcia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017C4D4E-67A1-4F30-AE03-744F8D94CBA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15937" y="909266"/>
            <a:ext cx="5543551" cy="2739053"/>
          </a:xfrm>
          <a:custGeom>
            <a:avLst/>
            <a:gdLst>
              <a:gd name="connsiteX0" fmla="*/ 55466 w 5543551"/>
              <a:gd name="connsiteY0" fmla="*/ 0 h 2739053"/>
              <a:gd name="connsiteX1" fmla="*/ 5488085 w 5543551"/>
              <a:gd name="connsiteY1" fmla="*/ 0 h 2739053"/>
              <a:gd name="connsiteX2" fmla="*/ 5543551 w 5543551"/>
              <a:gd name="connsiteY2" fmla="*/ 55466 h 2739053"/>
              <a:gd name="connsiteX3" fmla="*/ 5543551 w 5543551"/>
              <a:gd name="connsiteY3" fmla="*/ 2683587 h 2739053"/>
              <a:gd name="connsiteX4" fmla="*/ 5488085 w 5543551"/>
              <a:gd name="connsiteY4" fmla="*/ 2739053 h 2739053"/>
              <a:gd name="connsiteX5" fmla="*/ 55466 w 5543551"/>
              <a:gd name="connsiteY5" fmla="*/ 2739053 h 2739053"/>
              <a:gd name="connsiteX6" fmla="*/ 0 w 5543551"/>
              <a:gd name="connsiteY6" fmla="*/ 2683587 h 2739053"/>
              <a:gd name="connsiteX7" fmla="*/ 0 w 5543551"/>
              <a:gd name="connsiteY7" fmla="*/ 55466 h 2739053"/>
              <a:gd name="connsiteX8" fmla="*/ 55466 w 5543551"/>
              <a:gd name="connsiteY8" fmla="*/ 0 h 2739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2739053">
                <a:moveTo>
                  <a:pt x="55466" y="0"/>
                </a:moveTo>
                <a:lnTo>
                  <a:pt x="5488085" y="0"/>
                </a:lnTo>
                <a:cubicBezTo>
                  <a:pt x="5518718" y="0"/>
                  <a:pt x="5543551" y="24833"/>
                  <a:pt x="5543551" y="55466"/>
                </a:cubicBezTo>
                <a:lnTo>
                  <a:pt x="5543551" y="2683587"/>
                </a:lnTo>
                <a:cubicBezTo>
                  <a:pt x="5543551" y="2714220"/>
                  <a:pt x="5518718" y="2739053"/>
                  <a:pt x="5488085" y="2739053"/>
                </a:cubicBezTo>
                <a:lnTo>
                  <a:pt x="55466" y="2739053"/>
                </a:lnTo>
                <a:cubicBezTo>
                  <a:pt x="24833" y="2739053"/>
                  <a:pt x="0" y="2714220"/>
                  <a:pt x="0" y="2683587"/>
                </a:cubicBezTo>
                <a:lnTo>
                  <a:pt x="0" y="55466"/>
                </a:lnTo>
                <a:cubicBezTo>
                  <a:pt x="0" y="24833"/>
                  <a:pt x="24833" y="0"/>
                  <a:pt x="55466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pl-PL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</a:p>
        </p:txBody>
      </p:sp>
      <p:sp>
        <p:nvSpPr>
          <p:cNvPr id="25" name="Text Placeholder 47">
            <a:extLst>
              <a:ext uri="{FF2B5EF4-FFF2-40B4-BE49-F238E27FC236}">
                <a16:creationId xmlns:a16="http://schemas.microsoft.com/office/drawing/2014/main" id="{D0CFEF48-07D6-43F7-87F3-3879962F9A3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5937" y="3260904"/>
            <a:ext cx="5543551" cy="387414"/>
          </a:xfrm>
          <a:prstGeom prst="roundRect">
            <a:avLst>
              <a:gd name="adj" fmla="val 12569"/>
            </a:avLst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2E2D4C7-D438-4EF8-99F3-5CE7103453F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15936" y="3269434"/>
            <a:ext cx="5543552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79FF6EBB-5922-46C4-A7CE-ED0EB114C265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132512" y="908050"/>
            <a:ext cx="5543551" cy="2739053"/>
          </a:xfrm>
          <a:custGeom>
            <a:avLst/>
            <a:gdLst>
              <a:gd name="connsiteX0" fmla="*/ 55466 w 5543551"/>
              <a:gd name="connsiteY0" fmla="*/ 0 h 2739053"/>
              <a:gd name="connsiteX1" fmla="*/ 5488085 w 5543551"/>
              <a:gd name="connsiteY1" fmla="*/ 0 h 2739053"/>
              <a:gd name="connsiteX2" fmla="*/ 5543551 w 5543551"/>
              <a:gd name="connsiteY2" fmla="*/ 55466 h 2739053"/>
              <a:gd name="connsiteX3" fmla="*/ 5543551 w 5543551"/>
              <a:gd name="connsiteY3" fmla="*/ 2683587 h 2739053"/>
              <a:gd name="connsiteX4" fmla="*/ 5488085 w 5543551"/>
              <a:gd name="connsiteY4" fmla="*/ 2739053 h 2739053"/>
              <a:gd name="connsiteX5" fmla="*/ 55466 w 5543551"/>
              <a:gd name="connsiteY5" fmla="*/ 2739053 h 2739053"/>
              <a:gd name="connsiteX6" fmla="*/ 0 w 5543551"/>
              <a:gd name="connsiteY6" fmla="*/ 2683587 h 2739053"/>
              <a:gd name="connsiteX7" fmla="*/ 0 w 5543551"/>
              <a:gd name="connsiteY7" fmla="*/ 55466 h 2739053"/>
              <a:gd name="connsiteX8" fmla="*/ 55466 w 5543551"/>
              <a:gd name="connsiteY8" fmla="*/ 0 h 2739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2739053">
                <a:moveTo>
                  <a:pt x="55466" y="0"/>
                </a:moveTo>
                <a:lnTo>
                  <a:pt x="5488085" y="0"/>
                </a:lnTo>
                <a:cubicBezTo>
                  <a:pt x="5518718" y="0"/>
                  <a:pt x="5543551" y="24833"/>
                  <a:pt x="5543551" y="55466"/>
                </a:cubicBezTo>
                <a:lnTo>
                  <a:pt x="5543551" y="2683587"/>
                </a:lnTo>
                <a:cubicBezTo>
                  <a:pt x="5543551" y="2714220"/>
                  <a:pt x="5518718" y="2739053"/>
                  <a:pt x="5488085" y="2739053"/>
                </a:cubicBezTo>
                <a:lnTo>
                  <a:pt x="55466" y="2739053"/>
                </a:lnTo>
                <a:cubicBezTo>
                  <a:pt x="24833" y="2739053"/>
                  <a:pt x="0" y="2714220"/>
                  <a:pt x="0" y="2683587"/>
                </a:cubicBezTo>
                <a:lnTo>
                  <a:pt x="0" y="55466"/>
                </a:lnTo>
                <a:cubicBezTo>
                  <a:pt x="0" y="24833"/>
                  <a:pt x="24833" y="0"/>
                  <a:pt x="55466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pl-PL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</a:p>
        </p:txBody>
      </p:sp>
      <p:sp>
        <p:nvSpPr>
          <p:cNvPr id="27" name="Text Placeholder 47">
            <a:extLst>
              <a:ext uri="{FF2B5EF4-FFF2-40B4-BE49-F238E27FC236}">
                <a16:creationId xmlns:a16="http://schemas.microsoft.com/office/drawing/2014/main" id="{28DCE3CD-714A-4CA5-A68C-083CDEEC19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32512" y="3259688"/>
            <a:ext cx="5543551" cy="387414"/>
          </a:xfrm>
          <a:prstGeom prst="roundRect">
            <a:avLst>
              <a:gd name="adj" fmla="val 12569"/>
            </a:avLst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6899828-9CC8-4902-96D7-5E5F6B74370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132511" y="3268218"/>
            <a:ext cx="5543552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ACE04B4E-F642-49F1-877B-A64AC8CBD5F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5936" y="3717605"/>
            <a:ext cx="5543551" cy="2739053"/>
          </a:xfrm>
          <a:custGeom>
            <a:avLst/>
            <a:gdLst>
              <a:gd name="connsiteX0" fmla="*/ 55466 w 5543551"/>
              <a:gd name="connsiteY0" fmla="*/ 0 h 2739053"/>
              <a:gd name="connsiteX1" fmla="*/ 5488085 w 5543551"/>
              <a:gd name="connsiteY1" fmla="*/ 0 h 2739053"/>
              <a:gd name="connsiteX2" fmla="*/ 5543551 w 5543551"/>
              <a:gd name="connsiteY2" fmla="*/ 55466 h 2739053"/>
              <a:gd name="connsiteX3" fmla="*/ 5543551 w 5543551"/>
              <a:gd name="connsiteY3" fmla="*/ 2683587 h 2739053"/>
              <a:gd name="connsiteX4" fmla="*/ 5488085 w 5543551"/>
              <a:gd name="connsiteY4" fmla="*/ 2739053 h 2739053"/>
              <a:gd name="connsiteX5" fmla="*/ 55466 w 5543551"/>
              <a:gd name="connsiteY5" fmla="*/ 2739053 h 2739053"/>
              <a:gd name="connsiteX6" fmla="*/ 0 w 5543551"/>
              <a:gd name="connsiteY6" fmla="*/ 2683587 h 2739053"/>
              <a:gd name="connsiteX7" fmla="*/ 0 w 5543551"/>
              <a:gd name="connsiteY7" fmla="*/ 55466 h 2739053"/>
              <a:gd name="connsiteX8" fmla="*/ 55466 w 5543551"/>
              <a:gd name="connsiteY8" fmla="*/ 0 h 2739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2739053">
                <a:moveTo>
                  <a:pt x="55466" y="0"/>
                </a:moveTo>
                <a:lnTo>
                  <a:pt x="5488085" y="0"/>
                </a:lnTo>
                <a:cubicBezTo>
                  <a:pt x="5518718" y="0"/>
                  <a:pt x="5543551" y="24833"/>
                  <a:pt x="5543551" y="55466"/>
                </a:cubicBezTo>
                <a:lnTo>
                  <a:pt x="5543551" y="2683587"/>
                </a:lnTo>
                <a:cubicBezTo>
                  <a:pt x="5543551" y="2714220"/>
                  <a:pt x="5518718" y="2739053"/>
                  <a:pt x="5488085" y="2739053"/>
                </a:cubicBezTo>
                <a:lnTo>
                  <a:pt x="55466" y="2739053"/>
                </a:lnTo>
                <a:cubicBezTo>
                  <a:pt x="24833" y="2739053"/>
                  <a:pt x="0" y="2714220"/>
                  <a:pt x="0" y="2683587"/>
                </a:cubicBezTo>
                <a:lnTo>
                  <a:pt x="0" y="55466"/>
                </a:lnTo>
                <a:cubicBezTo>
                  <a:pt x="0" y="24833"/>
                  <a:pt x="24833" y="0"/>
                  <a:pt x="55466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pl-PL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</a:p>
        </p:txBody>
      </p:sp>
      <p:sp>
        <p:nvSpPr>
          <p:cNvPr id="35" name="Text Placeholder 47">
            <a:extLst>
              <a:ext uri="{FF2B5EF4-FFF2-40B4-BE49-F238E27FC236}">
                <a16:creationId xmlns:a16="http://schemas.microsoft.com/office/drawing/2014/main" id="{4524366A-7B8C-4A07-9D8C-5093782A0D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5936" y="6069243"/>
            <a:ext cx="5543551" cy="387414"/>
          </a:xfrm>
          <a:prstGeom prst="roundRect">
            <a:avLst>
              <a:gd name="adj" fmla="val 12569"/>
            </a:avLst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5F68A78-099B-4A99-A780-6866F7B53B19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515935" y="6077773"/>
            <a:ext cx="5543552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FB9684CE-A536-4C97-BAA4-3D3BCF385756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132511" y="3716389"/>
            <a:ext cx="5543551" cy="2739053"/>
          </a:xfrm>
          <a:custGeom>
            <a:avLst/>
            <a:gdLst>
              <a:gd name="connsiteX0" fmla="*/ 55466 w 5543551"/>
              <a:gd name="connsiteY0" fmla="*/ 0 h 2739053"/>
              <a:gd name="connsiteX1" fmla="*/ 5488085 w 5543551"/>
              <a:gd name="connsiteY1" fmla="*/ 0 h 2739053"/>
              <a:gd name="connsiteX2" fmla="*/ 5543551 w 5543551"/>
              <a:gd name="connsiteY2" fmla="*/ 55466 h 2739053"/>
              <a:gd name="connsiteX3" fmla="*/ 5543551 w 5543551"/>
              <a:gd name="connsiteY3" fmla="*/ 2683587 h 2739053"/>
              <a:gd name="connsiteX4" fmla="*/ 5488085 w 5543551"/>
              <a:gd name="connsiteY4" fmla="*/ 2739053 h 2739053"/>
              <a:gd name="connsiteX5" fmla="*/ 55466 w 5543551"/>
              <a:gd name="connsiteY5" fmla="*/ 2739053 h 2739053"/>
              <a:gd name="connsiteX6" fmla="*/ 0 w 5543551"/>
              <a:gd name="connsiteY6" fmla="*/ 2683587 h 2739053"/>
              <a:gd name="connsiteX7" fmla="*/ 0 w 5543551"/>
              <a:gd name="connsiteY7" fmla="*/ 55466 h 2739053"/>
              <a:gd name="connsiteX8" fmla="*/ 55466 w 5543551"/>
              <a:gd name="connsiteY8" fmla="*/ 0 h 2739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2739053">
                <a:moveTo>
                  <a:pt x="55466" y="0"/>
                </a:moveTo>
                <a:lnTo>
                  <a:pt x="5488085" y="0"/>
                </a:lnTo>
                <a:cubicBezTo>
                  <a:pt x="5518718" y="0"/>
                  <a:pt x="5543551" y="24833"/>
                  <a:pt x="5543551" y="55466"/>
                </a:cubicBezTo>
                <a:lnTo>
                  <a:pt x="5543551" y="2683587"/>
                </a:lnTo>
                <a:cubicBezTo>
                  <a:pt x="5543551" y="2714220"/>
                  <a:pt x="5518718" y="2739053"/>
                  <a:pt x="5488085" y="2739053"/>
                </a:cubicBezTo>
                <a:lnTo>
                  <a:pt x="55466" y="2739053"/>
                </a:lnTo>
                <a:cubicBezTo>
                  <a:pt x="24833" y="2739053"/>
                  <a:pt x="0" y="2714220"/>
                  <a:pt x="0" y="2683587"/>
                </a:cubicBezTo>
                <a:lnTo>
                  <a:pt x="0" y="55466"/>
                </a:lnTo>
                <a:cubicBezTo>
                  <a:pt x="0" y="24833"/>
                  <a:pt x="24833" y="0"/>
                  <a:pt x="55466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pl-PL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</a:p>
        </p:txBody>
      </p:sp>
      <p:sp>
        <p:nvSpPr>
          <p:cNvPr id="38" name="Text Placeholder 47">
            <a:extLst>
              <a:ext uri="{FF2B5EF4-FFF2-40B4-BE49-F238E27FC236}">
                <a16:creationId xmlns:a16="http://schemas.microsoft.com/office/drawing/2014/main" id="{3B3E6BBF-8A8A-41C1-A77D-7839945A87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2511" y="6068027"/>
            <a:ext cx="5543551" cy="387414"/>
          </a:xfrm>
          <a:prstGeom prst="roundRect">
            <a:avLst>
              <a:gd name="adj" fmla="val 12569"/>
            </a:avLst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BA26FDE-C074-445A-A4FD-3DA6F9132F19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6132510" y="6076557"/>
            <a:ext cx="5543552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11C996F-4017-464C-B891-4208CE93D2D6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6A5DC3F-F547-4729-9E85-163D2B89F8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67778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bject 299">
            <a:extLst>
              <a:ext uri="{FF2B5EF4-FFF2-40B4-BE49-F238E27FC236}">
                <a16:creationId xmlns:a16="http://schemas.microsoft.com/office/drawing/2014/main" id="{1CC8C4A9-6718-4A1B-9D7D-902A86F0A9B9}"/>
              </a:ext>
            </a:extLst>
          </p:cNvPr>
          <p:cNvSpPr/>
          <p:nvPr userDrawn="1"/>
        </p:nvSpPr>
        <p:spPr>
          <a:xfrm>
            <a:off x="4268788" y="908050"/>
            <a:ext cx="1790700" cy="1800225"/>
          </a:xfrm>
          <a:prstGeom prst="roundRect">
            <a:avLst>
              <a:gd name="adj" fmla="val 30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object 299">
            <a:extLst>
              <a:ext uri="{FF2B5EF4-FFF2-40B4-BE49-F238E27FC236}">
                <a16:creationId xmlns:a16="http://schemas.microsoft.com/office/drawing/2014/main" id="{BAB767D8-D719-40F1-BDD1-5C9FAC0EDAD5}"/>
              </a:ext>
            </a:extLst>
          </p:cNvPr>
          <p:cNvSpPr/>
          <p:nvPr userDrawn="1"/>
        </p:nvSpPr>
        <p:spPr>
          <a:xfrm>
            <a:off x="515937" y="1844675"/>
            <a:ext cx="4140201" cy="3205163"/>
          </a:xfrm>
          <a:prstGeom prst="roundRect">
            <a:avLst>
              <a:gd name="adj" fmla="val 1802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object 299">
            <a:extLst>
              <a:ext uri="{FF2B5EF4-FFF2-40B4-BE49-F238E27FC236}">
                <a16:creationId xmlns:a16="http://schemas.microsoft.com/office/drawing/2014/main" id="{D5F2ED96-CB1C-4361-889C-793296798D84}"/>
              </a:ext>
            </a:extLst>
          </p:cNvPr>
          <p:cNvSpPr/>
          <p:nvPr userDrawn="1"/>
        </p:nvSpPr>
        <p:spPr>
          <a:xfrm>
            <a:off x="9885365" y="908050"/>
            <a:ext cx="1790700" cy="1800225"/>
          </a:xfrm>
          <a:prstGeom prst="roundRect">
            <a:avLst>
              <a:gd name="adj" fmla="val 30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57" name="object 299">
            <a:extLst>
              <a:ext uri="{FF2B5EF4-FFF2-40B4-BE49-F238E27FC236}">
                <a16:creationId xmlns:a16="http://schemas.microsoft.com/office/drawing/2014/main" id="{952EE958-D7E9-4B66-BCE6-C67914D85B8B}"/>
              </a:ext>
            </a:extLst>
          </p:cNvPr>
          <p:cNvSpPr/>
          <p:nvPr userDrawn="1"/>
        </p:nvSpPr>
        <p:spPr>
          <a:xfrm>
            <a:off x="6132514" y="1844675"/>
            <a:ext cx="4140201" cy="3205163"/>
          </a:xfrm>
          <a:prstGeom prst="roundRect">
            <a:avLst>
              <a:gd name="adj" fmla="val 1802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object 299">
            <a:extLst>
              <a:ext uri="{FF2B5EF4-FFF2-40B4-BE49-F238E27FC236}">
                <a16:creationId xmlns:a16="http://schemas.microsoft.com/office/drawing/2014/main" id="{5C9E4300-9A95-4C17-B86E-D2721C997FE0}"/>
              </a:ext>
            </a:extLst>
          </p:cNvPr>
          <p:cNvSpPr/>
          <p:nvPr userDrawn="1"/>
        </p:nvSpPr>
        <p:spPr>
          <a:xfrm>
            <a:off x="515937" y="5121275"/>
            <a:ext cx="11160126" cy="1334117"/>
          </a:xfrm>
          <a:prstGeom prst="roundRect">
            <a:avLst>
              <a:gd name="adj" fmla="val 416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EB73352F-6767-4E2C-8826-674E1EAE140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68788" y="908051"/>
            <a:ext cx="1790700" cy="1800225"/>
          </a:xfrm>
          <a:custGeom>
            <a:avLst/>
            <a:gdLst>
              <a:gd name="connsiteX0" fmla="*/ 54025 w 1790700"/>
              <a:gd name="connsiteY0" fmla="*/ 0 h 1800225"/>
              <a:gd name="connsiteX1" fmla="*/ 1736675 w 1790700"/>
              <a:gd name="connsiteY1" fmla="*/ 0 h 1800225"/>
              <a:gd name="connsiteX2" fmla="*/ 1790700 w 1790700"/>
              <a:gd name="connsiteY2" fmla="*/ 54025 h 1800225"/>
              <a:gd name="connsiteX3" fmla="*/ 1790700 w 1790700"/>
              <a:gd name="connsiteY3" fmla="*/ 1746200 h 1800225"/>
              <a:gd name="connsiteX4" fmla="*/ 1736675 w 1790700"/>
              <a:gd name="connsiteY4" fmla="*/ 1800225 h 1800225"/>
              <a:gd name="connsiteX5" fmla="*/ 54025 w 1790700"/>
              <a:gd name="connsiteY5" fmla="*/ 1800225 h 1800225"/>
              <a:gd name="connsiteX6" fmla="*/ 0 w 1790700"/>
              <a:gd name="connsiteY6" fmla="*/ 1746200 h 1800225"/>
              <a:gd name="connsiteX7" fmla="*/ 0 w 1790700"/>
              <a:gd name="connsiteY7" fmla="*/ 54025 h 1800225"/>
              <a:gd name="connsiteX8" fmla="*/ 54025 w 1790700"/>
              <a:gd name="connsiteY8" fmla="*/ 0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0700" h="1800225">
                <a:moveTo>
                  <a:pt x="54025" y="0"/>
                </a:moveTo>
                <a:lnTo>
                  <a:pt x="1736675" y="0"/>
                </a:lnTo>
                <a:cubicBezTo>
                  <a:pt x="1766512" y="0"/>
                  <a:pt x="1790700" y="24188"/>
                  <a:pt x="1790700" y="54025"/>
                </a:cubicBezTo>
                <a:lnTo>
                  <a:pt x="1790700" y="1746200"/>
                </a:lnTo>
                <a:cubicBezTo>
                  <a:pt x="1790700" y="1776037"/>
                  <a:pt x="1766512" y="1800225"/>
                  <a:pt x="1736675" y="1800225"/>
                </a:cubicBezTo>
                <a:lnTo>
                  <a:pt x="54025" y="1800225"/>
                </a:lnTo>
                <a:cubicBezTo>
                  <a:pt x="24188" y="1800225"/>
                  <a:pt x="0" y="1776037"/>
                  <a:pt x="0" y="1746200"/>
                </a:cubicBezTo>
                <a:lnTo>
                  <a:pt x="0" y="54025"/>
                </a:lnTo>
                <a:cubicBezTo>
                  <a:pt x="0" y="24188"/>
                  <a:pt x="24188" y="0"/>
                  <a:pt x="54025" y="0"/>
                </a:cubicBezTo>
                <a:close/>
              </a:path>
            </a:pathLst>
          </a:custGeom>
        </p:spPr>
        <p:txBody>
          <a:bodyPr wrap="square" lIns="144000" tIns="144000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zdjęcie</a:t>
            </a:r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70A8EC60-9DDC-4386-8A39-542E1013DBC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885365" y="908051"/>
            <a:ext cx="1790700" cy="1800225"/>
          </a:xfrm>
          <a:custGeom>
            <a:avLst/>
            <a:gdLst>
              <a:gd name="connsiteX0" fmla="*/ 54025 w 1790700"/>
              <a:gd name="connsiteY0" fmla="*/ 0 h 1800225"/>
              <a:gd name="connsiteX1" fmla="*/ 1736675 w 1790700"/>
              <a:gd name="connsiteY1" fmla="*/ 0 h 1800225"/>
              <a:gd name="connsiteX2" fmla="*/ 1790700 w 1790700"/>
              <a:gd name="connsiteY2" fmla="*/ 54025 h 1800225"/>
              <a:gd name="connsiteX3" fmla="*/ 1790700 w 1790700"/>
              <a:gd name="connsiteY3" fmla="*/ 1746200 h 1800225"/>
              <a:gd name="connsiteX4" fmla="*/ 1736675 w 1790700"/>
              <a:gd name="connsiteY4" fmla="*/ 1800225 h 1800225"/>
              <a:gd name="connsiteX5" fmla="*/ 54025 w 1790700"/>
              <a:gd name="connsiteY5" fmla="*/ 1800225 h 1800225"/>
              <a:gd name="connsiteX6" fmla="*/ 0 w 1790700"/>
              <a:gd name="connsiteY6" fmla="*/ 1746200 h 1800225"/>
              <a:gd name="connsiteX7" fmla="*/ 0 w 1790700"/>
              <a:gd name="connsiteY7" fmla="*/ 54025 h 1800225"/>
              <a:gd name="connsiteX8" fmla="*/ 54025 w 1790700"/>
              <a:gd name="connsiteY8" fmla="*/ 0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0700" h="1800225">
                <a:moveTo>
                  <a:pt x="54025" y="0"/>
                </a:moveTo>
                <a:lnTo>
                  <a:pt x="1736675" y="0"/>
                </a:lnTo>
                <a:cubicBezTo>
                  <a:pt x="1766512" y="0"/>
                  <a:pt x="1790700" y="24188"/>
                  <a:pt x="1790700" y="54025"/>
                </a:cubicBezTo>
                <a:lnTo>
                  <a:pt x="1790700" y="1746200"/>
                </a:lnTo>
                <a:cubicBezTo>
                  <a:pt x="1790700" y="1776037"/>
                  <a:pt x="1766512" y="1800225"/>
                  <a:pt x="1736675" y="1800225"/>
                </a:cubicBezTo>
                <a:lnTo>
                  <a:pt x="54025" y="1800225"/>
                </a:lnTo>
                <a:cubicBezTo>
                  <a:pt x="24188" y="1800225"/>
                  <a:pt x="0" y="1776037"/>
                  <a:pt x="0" y="1746200"/>
                </a:cubicBezTo>
                <a:lnTo>
                  <a:pt x="0" y="54025"/>
                </a:lnTo>
                <a:cubicBezTo>
                  <a:pt x="0" y="24188"/>
                  <a:pt x="24188" y="0"/>
                  <a:pt x="54025" y="0"/>
                </a:cubicBezTo>
                <a:close/>
              </a:path>
            </a:pathLst>
          </a:custGeom>
        </p:spPr>
        <p:txBody>
          <a:bodyPr wrap="square" lIns="144000" tIns="144000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zdjęcie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2E2D4C7-D438-4EF8-99F3-5CE7103453F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76287" y="2060390"/>
            <a:ext cx="3574733" cy="370355"/>
          </a:xfrm>
        </p:spPr>
        <p:txBody>
          <a:bodyPr l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ek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02F4FA63-83A8-4AC1-AB3D-2550296746E7}"/>
              </a:ext>
            </a:extLst>
          </p:cNvPr>
          <p:cNvSpPr>
            <a:spLocks noGrp="1"/>
          </p:cNvSpPr>
          <p:nvPr>
            <p:ph type="tbl" sz="quarter" idx="24" hasCustomPrompt="1"/>
          </p:nvPr>
        </p:nvSpPr>
        <p:spPr>
          <a:xfrm>
            <a:off x="776287" y="2562225"/>
            <a:ext cx="3575485" cy="2281520"/>
          </a:xfrm>
        </p:spPr>
        <p:txBody>
          <a:bodyPr lIns="144000" tIns="144000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TABELĘ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2FAB3C68-3A88-49C9-AFC4-042D90B8213B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392864" y="2060390"/>
            <a:ext cx="3574733" cy="370355"/>
          </a:xfrm>
        </p:spPr>
        <p:txBody>
          <a:bodyPr l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ekst</a:t>
            </a:r>
          </a:p>
        </p:txBody>
      </p:sp>
      <p:sp>
        <p:nvSpPr>
          <p:cNvPr id="59" name="Table Placeholder 3">
            <a:extLst>
              <a:ext uri="{FF2B5EF4-FFF2-40B4-BE49-F238E27FC236}">
                <a16:creationId xmlns:a16="http://schemas.microsoft.com/office/drawing/2014/main" id="{373765A0-CC8A-43F7-9E9D-9B9722E69808}"/>
              </a:ext>
            </a:extLst>
          </p:cNvPr>
          <p:cNvSpPr>
            <a:spLocks noGrp="1"/>
          </p:cNvSpPr>
          <p:nvPr>
            <p:ph type="tbl" sz="quarter" idx="28" hasCustomPrompt="1"/>
          </p:nvPr>
        </p:nvSpPr>
        <p:spPr>
          <a:xfrm>
            <a:off x="6392864" y="2562225"/>
            <a:ext cx="3575485" cy="2281520"/>
          </a:xfrm>
        </p:spPr>
        <p:txBody>
          <a:bodyPr lIns="144000" tIns="144000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TABELĘ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F4992CA-6325-46C9-AEE7-3199B91CF94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76287" y="5603156"/>
            <a:ext cx="1776413" cy="370355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ekst</a:t>
            </a:r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09244008-1304-49F3-B062-F7DE93E6C589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150BB0B-B682-42F7-BB29-FE96C600F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94399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094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389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abel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99">
            <a:extLst>
              <a:ext uri="{FF2B5EF4-FFF2-40B4-BE49-F238E27FC236}">
                <a16:creationId xmlns:a16="http://schemas.microsoft.com/office/drawing/2014/main" id="{88F7AD10-D2EB-480F-B3BD-78A8B461A8DB}"/>
              </a:ext>
            </a:extLst>
          </p:cNvPr>
          <p:cNvSpPr/>
          <p:nvPr userDrawn="1"/>
        </p:nvSpPr>
        <p:spPr>
          <a:xfrm>
            <a:off x="515937" y="908051"/>
            <a:ext cx="11160126" cy="5551220"/>
          </a:xfrm>
          <a:prstGeom prst="roundRect">
            <a:avLst>
              <a:gd name="adj" fmla="val 1390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Table Placeholder 4">
            <a:extLst>
              <a:ext uri="{FF2B5EF4-FFF2-40B4-BE49-F238E27FC236}">
                <a16:creationId xmlns:a16="http://schemas.microsoft.com/office/drawing/2014/main" id="{322DDFEF-8DFC-424B-B557-B8E6ECEACE2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515938" y="908049"/>
            <a:ext cx="11160125" cy="5551220"/>
          </a:xfrm>
        </p:spPr>
        <p:txBody>
          <a:bodyPr lIns="144000" tIns="144000"/>
          <a:lstStyle>
            <a:lvl1pPr marL="0" indent="0">
              <a:buNone/>
              <a:defRPr/>
            </a:lvl1pPr>
          </a:lstStyle>
          <a:p>
            <a:r>
              <a:rPr lang="pl-PL"/>
              <a:t>Wstaw tabelę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B521C726-BEF6-443D-8E89-998DDC1C106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60DF91-9E56-4A6D-977E-ECC0D5C893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03468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ject 299">
            <a:extLst>
              <a:ext uri="{FF2B5EF4-FFF2-40B4-BE49-F238E27FC236}">
                <a16:creationId xmlns:a16="http://schemas.microsoft.com/office/drawing/2014/main" id="{0EE6F615-04D7-41BC-A4AF-8D2FBE5057AC}"/>
              </a:ext>
            </a:extLst>
          </p:cNvPr>
          <p:cNvSpPr/>
          <p:nvPr userDrawn="1"/>
        </p:nvSpPr>
        <p:spPr>
          <a:xfrm>
            <a:off x="6132512" y="1376365"/>
            <a:ext cx="5543551" cy="5082905"/>
          </a:xfrm>
          <a:prstGeom prst="roundRect">
            <a:avLst>
              <a:gd name="adj" fmla="val 1484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42" name="Content Placeholder 41">
            <a:extLst>
              <a:ext uri="{FF2B5EF4-FFF2-40B4-BE49-F238E27FC236}">
                <a16:creationId xmlns:a16="http://schemas.microsoft.com/office/drawing/2014/main" id="{01C22DBF-8B28-4B80-8BE1-3EE7A0C35E4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32513" y="1376366"/>
            <a:ext cx="5543551" cy="5082905"/>
          </a:xfrm>
          <a:custGeom>
            <a:avLst/>
            <a:gdLst>
              <a:gd name="connsiteX0" fmla="*/ 75430 w 5543551"/>
              <a:gd name="connsiteY0" fmla="*/ 0 h 5082905"/>
              <a:gd name="connsiteX1" fmla="*/ 5468121 w 5543551"/>
              <a:gd name="connsiteY1" fmla="*/ 0 h 5082905"/>
              <a:gd name="connsiteX2" fmla="*/ 5543551 w 5543551"/>
              <a:gd name="connsiteY2" fmla="*/ 75430 h 5082905"/>
              <a:gd name="connsiteX3" fmla="*/ 5543551 w 5543551"/>
              <a:gd name="connsiteY3" fmla="*/ 5007475 h 5082905"/>
              <a:gd name="connsiteX4" fmla="*/ 5468121 w 5543551"/>
              <a:gd name="connsiteY4" fmla="*/ 5082905 h 5082905"/>
              <a:gd name="connsiteX5" fmla="*/ 75430 w 5543551"/>
              <a:gd name="connsiteY5" fmla="*/ 5082905 h 5082905"/>
              <a:gd name="connsiteX6" fmla="*/ 0 w 5543551"/>
              <a:gd name="connsiteY6" fmla="*/ 5007475 h 5082905"/>
              <a:gd name="connsiteX7" fmla="*/ 0 w 5543551"/>
              <a:gd name="connsiteY7" fmla="*/ 75430 h 5082905"/>
              <a:gd name="connsiteX8" fmla="*/ 75430 w 5543551"/>
              <a:gd name="connsiteY8" fmla="*/ 0 h 5082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5082905">
                <a:moveTo>
                  <a:pt x="75430" y="0"/>
                </a:moveTo>
                <a:lnTo>
                  <a:pt x="5468121" y="0"/>
                </a:lnTo>
                <a:cubicBezTo>
                  <a:pt x="5509780" y="0"/>
                  <a:pt x="5543551" y="33771"/>
                  <a:pt x="5543551" y="75430"/>
                </a:cubicBezTo>
                <a:lnTo>
                  <a:pt x="5543551" y="5007475"/>
                </a:lnTo>
                <a:cubicBezTo>
                  <a:pt x="5543551" y="5049134"/>
                  <a:pt x="5509780" y="5082905"/>
                  <a:pt x="5468121" y="5082905"/>
                </a:cubicBezTo>
                <a:lnTo>
                  <a:pt x="75430" y="5082905"/>
                </a:lnTo>
                <a:cubicBezTo>
                  <a:pt x="33771" y="5082905"/>
                  <a:pt x="0" y="5049134"/>
                  <a:pt x="0" y="5007475"/>
                </a:cubicBezTo>
                <a:lnTo>
                  <a:pt x="0" y="75430"/>
                </a:lnTo>
                <a:cubicBezTo>
                  <a:pt x="0" y="33771"/>
                  <a:pt x="33771" y="0"/>
                  <a:pt x="75430" y="0"/>
                </a:cubicBezTo>
                <a:close/>
              </a:path>
            </a:pathLst>
          </a:custGeom>
        </p:spPr>
        <p:txBody>
          <a:bodyPr wrap="square" lIns="144000" tIns="144000" anchor="t">
            <a:noAutofit/>
          </a:bodyPr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pl-PL"/>
              <a:t>Wstaw obraz</a:t>
            </a:r>
          </a:p>
        </p:txBody>
      </p:sp>
      <p:sp>
        <p:nvSpPr>
          <p:cNvPr id="24" name="object 299">
            <a:extLst>
              <a:ext uri="{FF2B5EF4-FFF2-40B4-BE49-F238E27FC236}">
                <a16:creationId xmlns:a16="http://schemas.microsoft.com/office/drawing/2014/main" id="{0E3AA23A-8AAF-4E77-8C81-F68569376A85}"/>
              </a:ext>
            </a:extLst>
          </p:cNvPr>
          <p:cNvSpPr/>
          <p:nvPr userDrawn="1"/>
        </p:nvSpPr>
        <p:spPr>
          <a:xfrm>
            <a:off x="518935" y="908050"/>
            <a:ext cx="11160126" cy="393768"/>
          </a:xfrm>
          <a:prstGeom prst="roundRect">
            <a:avLst>
              <a:gd name="adj" fmla="val 1446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 fontScale="85000" lnSpcReduction="20000"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4C26D55-BA9A-4916-80A7-994E101E1E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0959" y="919757"/>
            <a:ext cx="10890082" cy="37035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5" name="object 299">
            <a:extLst>
              <a:ext uri="{FF2B5EF4-FFF2-40B4-BE49-F238E27FC236}">
                <a16:creationId xmlns:a16="http://schemas.microsoft.com/office/drawing/2014/main" id="{6B7055F8-A28B-4F96-8D31-3583EAB709D3}"/>
              </a:ext>
            </a:extLst>
          </p:cNvPr>
          <p:cNvSpPr/>
          <p:nvPr userDrawn="1"/>
        </p:nvSpPr>
        <p:spPr>
          <a:xfrm>
            <a:off x="515937" y="1376365"/>
            <a:ext cx="5543551" cy="5082905"/>
          </a:xfrm>
          <a:prstGeom prst="roundRect">
            <a:avLst>
              <a:gd name="adj" fmla="val 1484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2A2ABCBE-9C7B-45CD-82F2-93A9DAB4D8E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83851" y="1548647"/>
            <a:ext cx="5207722" cy="4738340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16000" indent="-216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DA5258AB-0BF8-4B51-AE63-F2506EC56640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FB5A768-A739-4A4E-8A62-BDF4BE06D2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0682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094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389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5" name="object 299">
            <a:extLst>
              <a:ext uri="{FF2B5EF4-FFF2-40B4-BE49-F238E27FC236}">
                <a16:creationId xmlns:a16="http://schemas.microsoft.com/office/drawing/2014/main" id="{799730B0-7C22-4647-9E31-33EC0BC9C144}"/>
              </a:ext>
            </a:extLst>
          </p:cNvPr>
          <p:cNvSpPr/>
          <p:nvPr userDrawn="1"/>
        </p:nvSpPr>
        <p:spPr>
          <a:xfrm>
            <a:off x="515937" y="1376365"/>
            <a:ext cx="11160126" cy="5082905"/>
          </a:xfrm>
          <a:prstGeom prst="roundRect">
            <a:avLst>
              <a:gd name="adj" fmla="val 1390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19F10A0-ABA1-4618-A58D-9F6D9B9185F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5938" y="919757"/>
            <a:ext cx="11159121" cy="370355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FF438B5-EE80-4064-AAE8-711CA80D186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83850" y="1548647"/>
            <a:ext cx="10803299" cy="4738340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16000" indent="-216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C5C23156-1DA1-4FC6-A2B1-D3634480A86F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CBE6CDB-9D07-4593-A720-A76D44DD74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04457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094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389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99">
            <a:extLst>
              <a:ext uri="{FF2B5EF4-FFF2-40B4-BE49-F238E27FC236}">
                <a16:creationId xmlns:a16="http://schemas.microsoft.com/office/drawing/2014/main" id="{799730B0-7C22-4647-9E31-33EC0BC9C144}"/>
              </a:ext>
            </a:extLst>
          </p:cNvPr>
          <p:cNvSpPr/>
          <p:nvPr userDrawn="1"/>
        </p:nvSpPr>
        <p:spPr>
          <a:xfrm>
            <a:off x="515937" y="908051"/>
            <a:ext cx="11160126" cy="5551220"/>
          </a:xfrm>
          <a:prstGeom prst="roundRect">
            <a:avLst>
              <a:gd name="adj" fmla="val 1390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FF438B5-EE80-4064-AAE8-711CA80D186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83850" y="1031615"/>
            <a:ext cx="10803299" cy="5255372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16000" indent="-216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0D46278-B5FC-4245-81E6-AD0382EC5374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FF56DF-30C8-4D1C-B54F-A001548ECE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97254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094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389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BB32BDB-F8B7-48D3-97FB-BFA4913E176F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6E5A02F-286D-4E8B-93EA-F9C7E36EE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19367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094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389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końc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B753E84-2481-4DD3-80CA-5E1D838A6EAE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FF2DF2DB-CD1D-43CD-AA7A-0B919525E86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</p:spPr>
        <p:txBody>
          <a:bodyPr lIns="144000" tIns="144000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zdjęcie</a:t>
            </a:r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8BAE56DC-67FE-45CE-AA2E-B37DD136E1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53134" y="2351816"/>
            <a:ext cx="5685732" cy="2152644"/>
          </a:xfrm>
          <a:custGeom>
            <a:avLst/>
            <a:gdLst>
              <a:gd name="connsiteX0" fmla="*/ 76200 w 5685732"/>
              <a:gd name="connsiteY0" fmla="*/ 0 h 2152644"/>
              <a:gd name="connsiteX1" fmla="*/ 5609532 w 5685732"/>
              <a:gd name="connsiteY1" fmla="*/ 0 h 2152644"/>
              <a:gd name="connsiteX2" fmla="*/ 5685732 w 5685732"/>
              <a:gd name="connsiteY2" fmla="*/ 76200 h 2152644"/>
              <a:gd name="connsiteX3" fmla="*/ 5685732 w 5685732"/>
              <a:gd name="connsiteY3" fmla="*/ 2076445 h 2152644"/>
              <a:gd name="connsiteX4" fmla="*/ 5609532 w 5685732"/>
              <a:gd name="connsiteY4" fmla="*/ 2152644 h 2152644"/>
              <a:gd name="connsiteX5" fmla="*/ 76200 w 5685732"/>
              <a:gd name="connsiteY5" fmla="*/ 2152644 h 2152644"/>
              <a:gd name="connsiteX6" fmla="*/ 0 w 5685732"/>
              <a:gd name="connsiteY6" fmla="*/ 2076445 h 2152644"/>
              <a:gd name="connsiteX7" fmla="*/ 0 w 5685732"/>
              <a:gd name="connsiteY7" fmla="*/ 76200 h 2152644"/>
              <a:gd name="connsiteX8" fmla="*/ 76200 w 5685732"/>
              <a:gd name="connsiteY8" fmla="*/ 0 h 2152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85732" h="2152644">
                <a:moveTo>
                  <a:pt x="76200" y="0"/>
                </a:moveTo>
                <a:lnTo>
                  <a:pt x="5609532" y="0"/>
                </a:lnTo>
                <a:cubicBezTo>
                  <a:pt x="5651620" y="0"/>
                  <a:pt x="5685732" y="34118"/>
                  <a:pt x="5685732" y="76200"/>
                </a:cubicBezTo>
                <a:lnTo>
                  <a:pt x="5685732" y="2076445"/>
                </a:lnTo>
                <a:cubicBezTo>
                  <a:pt x="5685732" y="2118526"/>
                  <a:pt x="5651620" y="2152644"/>
                  <a:pt x="5609532" y="2152644"/>
                </a:cubicBezTo>
                <a:lnTo>
                  <a:pt x="76200" y="2152644"/>
                </a:lnTo>
                <a:cubicBezTo>
                  <a:pt x="34119" y="2152644"/>
                  <a:pt x="0" y="2118526"/>
                  <a:pt x="0" y="2076445"/>
                </a:cubicBezTo>
                <a:lnTo>
                  <a:pt x="0" y="76200"/>
                </a:lnTo>
                <a:cubicBezTo>
                  <a:pt x="0" y="34118"/>
                  <a:pt x="34119" y="0"/>
                  <a:pt x="76200" y="0"/>
                </a:cubicBezTo>
                <a:close/>
              </a:path>
            </a:pathLst>
          </a:custGeom>
          <a:solidFill>
            <a:schemeClr val="bg1">
              <a:alpha val="91000"/>
            </a:schemeClr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17254E-F2D6-4AD8-9D9F-00003AB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53135" y="2352707"/>
            <a:ext cx="5685730" cy="2152644"/>
          </a:xfrm>
        </p:spPr>
        <p:txBody>
          <a:bodyPr anchor="ctr">
            <a:no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Wprowadź teks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98459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końcow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93B9573-DD4B-4323-87C8-B77D6319C3F1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3F8841-CEBC-49E6-9876-63BDAF4E33D6}"/>
              </a:ext>
            </a:extLst>
          </p:cNvPr>
          <p:cNvSpPr txBox="1"/>
          <p:nvPr userDrawn="1"/>
        </p:nvSpPr>
        <p:spPr>
          <a:xfrm>
            <a:off x="3440981" y="2320500"/>
            <a:ext cx="5310038" cy="1015663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0" indent="0" algn="ctr">
              <a:buNone/>
            </a:pPr>
            <a:r>
              <a:rPr lang="pl-PL" sz="6000" b="1">
                <a:solidFill>
                  <a:schemeClr val="bg1"/>
                </a:solidFill>
                <a:latin typeface="Calibri" panose="020F0502020204030204" pitchFamily="34" charset="0"/>
              </a:rPr>
              <a:t>Dziękujemy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2E5C94D4-C490-44BA-8751-E070057EEF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3776" y="2827452"/>
            <a:ext cx="2511424" cy="2502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700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094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389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4C4FD4-A3E7-4874-AB33-2B83A125CAA9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C106E05-D472-4A33-9504-D9279580B94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774704"/>
            <a:ext cx="7013575" cy="5724525"/>
          </a:xfrm>
          <a:custGeom>
            <a:avLst/>
            <a:gdLst>
              <a:gd name="connsiteX0" fmla="*/ 0 w 7013575"/>
              <a:gd name="connsiteY0" fmla="*/ 0 h 5724525"/>
              <a:gd name="connsiteX1" fmla="*/ 6916716 w 7013575"/>
              <a:gd name="connsiteY1" fmla="*/ 0 h 5724525"/>
              <a:gd name="connsiteX2" fmla="*/ 7013575 w 7013575"/>
              <a:gd name="connsiteY2" fmla="*/ 96859 h 5724525"/>
              <a:gd name="connsiteX3" fmla="*/ 7013575 w 7013575"/>
              <a:gd name="connsiteY3" fmla="*/ 5627666 h 5724525"/>
              <a:gd name="connsiteX4" fmla="*/ 6916716 w 7013575"/>
              <a:gd name="connsiteY4" fmla="*/ 5724525 h 5724525"/>
              <a:gd name="connsiteX5" fmla="*/ 0 w 7013575"/>
              <a:gd name="connsiteY5" fmla="*/ 5724525 h 572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13575" h="5724525">
                <a:moveTo>
                  <a:pt x="0" y="0"/>
                </a:moveTo>
                <a:lnTo>
                  <a:pt x="6916716" y="0"/>
                </a:lnTo>
                <a:cubicBezTo>
                  <a:pt x="6970210" y="0"/>
                  <a:pt x="7013575" y="43365"/>
                  <a:pt x="7013575" y="96859"/>
                </a:cubicBezTo>
                <a:lnTo>
                  <a:pt x="7013575" y="5627666"/>
                </a:lnTo>
                <a:cubicBezTo>
                  <a:pt x="7013575" y="5681160"/>
                  <a:pt x="6970210" y="5724525"/>
                  <a:pt x="6916716" y="5724525"/>
                </a:cubicBezTo>
                <a:lnTo>
                  <a:pt x="0" y="5724525"/>
                </a:lnTo>
                <a:close/>
              </a:path>
            </a:pathLst>
          </a:custGeom>
          <a:solidFill>
            <a:schemeClr val="bg1"/>
          </a:solidFill>
          <a:effectLst>
            <a:outerShdw blurRad="165100" dist="76200" dir="40800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44000" tIns="144000" rIns="144000" bIns="144000" rtlCol="0">
            <a:noAutofit/>
          </a:bodyPr>
          <a:lstStyle>
            <a:lvl1pPr marL="0" indent="0">
              <a:buNone/>
              <a:defRPr lang="en-GB" sz="2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  <a:endParaRPr lang="en-GB"/>
          </a:p>
        </p:txBody>
      </p:sp>
      <p:sp>
        <p:nvSpPr>
          <p:cNvPr id="390" name="Text Placeholder 389">
            <a:extLst>
              <a:ext uri="{FF2B5EF4-FFF2-40B4-BE49-F238E27FC236}">
                <a16:creationId xmlns:a16="http://schemas.microsoft.com/office/drawing/2014/main" id="{56AA8022-34E0-4FBC-8B1A-2941CD03FC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1877" y="1752601"/>
            <a:ext cx="5699123" cy="3790950"/>
          </a:xfrm>
          <a:prstGeom prst="roundRect">
            <a:avLst>
              <a:gd name="adj" fmla="val 1564"/>
            </a:avLst>
          </a:prstGeom>
          <a:solidFill>
            <a:schemeClr val="bg1"/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180000" indent="0">
              <a:buNone/>
              <a:defRPr sz="100">
                <a:noFill/>
              </a:defRPr>
            </a:lvl2pPr>
            <a:lvl3pPr marL="360000" indent="0">
              <a:buNone/>
              <a:defRPr sz="100">
                <a:noFill/>
              </a:defRPr>
            </a:lvl3pPr>
            <a:lvl4pPr marL="540000" indent="0">
              <a:buNone/>
              <a:defRPr sz="100">
                <a:noFill/>
              </a:defRPr>
            </a:lvl4pPr>
            <a:lvl5pPr marL="720000" indent="0">
              <a:buNone/>
              <a:defRPr sz="100">
                <a:noFill/>
              </a:defRPr>
            </a:lvl5pPr>
          </a:lstStyle>
          <a:p>
            <a:pPr lvl="0"/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252C9B-D625-43A3-9FC1-B016BBD488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2300" y="2741614"/>
            <a:ext cx="3978277" cy="1857372"/>
          </a:xfrm>
        </p:spPr>
        <p:txBody>
          <a:bodyPr anchor="ctr">
            <a:no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Wprowadź tytuł slajdu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A58C7B-6FA6-4602-A62F-D19DCB5C66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2300" y="4794250"/>
            <a:ext cx="3978277" cy="384174"/>
          </a:xfrm>
        </p:spPr>
        <p:txBody>
          <a:bodyPr anchor="b">
            <a:noAutofit/>
          </a:bodyPr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Wprowadź podtytuł</a:t>
            </a:r>
            <a:endParaRPr lang="en-GB"/>
          </a:p>
        </p:txBody>
      </p:sp>
      <p:sp>
        <p:nvSpPr>
          <p:cNvPr id="387" name="Text Placeholder 386">
            <a:extLst>
              <a:ext uri="{FF2B5EF4-FFF2-40B4-BE49-F238E27FC236}">
                <a16:creationId xmlns:a16="http://schemas.microsoft.com/office/drawing/2014/main" id="{2BC182F4-E88C-4C5A-B357-882EC1E038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7942" y="2178395"/>
            <a:ext cx="2259427" cy="444152"/>
          </a:xfrm>
          <a:custGeom>
            <a:avLst/>
            <a:gdLst>
              <a:gd name="connsiteX0" fmla="*/ 204906 w 2259427"/>
              <a:gd name="connsiteY0" fmla="*/ 315259 h 444152"/>
              <a:gd name="connsiteX1" fmla="*/ 443917 w 2259427"/>
              <a:gd name="connsiteY1" fmla="*/ 382238 h 444152"/>
              <a:gd name="connsiteX2" fmla="*/ 682903 w 2259427"/>
              <a:gd name="connsiteY2" fmla="*/ 315285 h 444152"/>
              <a:gd name="connsiteX3" fmla="*/ 692598 w 2259427"/>
              <a:gd name="connsiteY3" fmla="*/ 361388 h 444152"/>
              <a:gd name="connsiteX4" fmla="*/ 443917 w 2259427"/>
              <a:gd name="connsiteY4" fmla="*/ 444152 h 444152"/>
              <a:gd name="connsiteX5" fmla="*/ 195211 w 2259427"/>
              <a:gd name="connsiteY5" fmla="*/ 361362 h 444152"/>
              <a:gd name="connsiteX6" fmla="*/ 1042863 w 2259427"/>
              <a:gd name="connsiteY6" fmla="*/ 124255 h 444152"/>
              <a:gd name="connsiteX7" fmla="*/ 992299 w 2259427"/>
              <a:gd name="connsiteY7" fmla="*/ 188010 h 444152"/>
              <a:gd name="connsiteX8" fmla="*/ 1045940 w 2259427"/>
              <a:gd name="connsiteY8" fmla="*/ 245604 h 444152"/>
              <a:gd name="connsiteX9" fmla="*/ 1082868 w 2259427"/>
              <a:gd name="connsiteY9" fmla="*/ 240331 h 444152"/>
              <a:gd name="connsiteX10" fmla="*/ 1082868 w 2259427"/>
              <a:gd name="connsiteY10" fmla="*/ 132814 h 444152"/>
              <a:gd name="connsiteX11" fmla="*/ 1042863 w 2259427"/>
              <a:gd name="connsiteY11" fmla="*/ 124255 h 444152"/>
              <a:gd name="connsiteX12" fmla="*/ 561960 w 2259427"/>
              <a:gd name="connsiteY12" fmla="*/ 124255 h 444152"/>
              <a:gd name="connsiteX13" fmla="*/ 521948 w 2259427"/>
              <a:gd name="connsiteY13" fmla="*/ 135251 h 444152"/>
              <a:gd name="connsiteX14" fmla="*/ 521948 w 2259427"/>
              <a:gd name="connsiteY14" fmla="*/ 240331 h 444152"/>
              <a:gd name="connsiteX15" fmla="*/ 558883 w 2259427"/>
              <a:gd name="connsiteY15" fmla="*/ 245604 h 444152"/>
              <a:gd name="connsiteX16" fmla="*/ 612517 w 2259427"/>
              <a:gd name="connsiteY16" fmla="*/ 188010 h 444152"/>
              <a:gd name="connsiteX17" fmla="*/ 561960 w 2259427"/>
              <a:gd name="connsiteY17" fmla="*/ 124255 h 444152"/>
              <a:gd name="connsiteX18" fmla="*/ 318051 w 2259427"/>
              <a:gd name="connsiteY18" fmla="*/ 124255 h 444152"/>
              <a:gd name="connsiteX19" fmla="*/ 267487 w 2259427"/>
              <a:gd name="connsiteY19" fmla="*/ 188010 h 444152"/>
              <a:gd name="connsiteX20" fmla="*/ 321128 w 2259427"/>
              <a:gd name="connsiteY20" fmla="*/ 245604 h 444152"/>
              <a:gd name="connsiteX21" fmla="*/ 358063 w 2259427"/>
              <a:gd name="connsiteY21" fmla="*/ 240331 h 444152"/>
              <a:gd name="connsiteX22" fmla="*/ 358063 w 2259427"/>
              <a:gd name="connsiteY22" fmla="*/ 132814 h 444152"/>
              <a:gd name="connsiteX23" fmla="*/ 318051 w 2259427"/>
              <a:gd name="connsiteY23" fmla="*/ 124255 h 444152"/>
              <a:gd name="connsiteX24" fmla="*/ 1321088 w 2259427"/>
              <a:gd name="connsiteY24" fmla="*/ 103821 h 444152"/>
              <a:gd name="connsiteX25" fmla="*/ 1236597 w 2259427"/>
              <a:gd name="connsiteY25" fmla="*/ 185495 h 444152"/>
              <a:gd name="connsiteX26" fmla="*/ 1311430 w 2259427"/>
              <a:gd name="connsiteY26" fmla="*/ 270791 h 444152"/>
              <a:gd name="connsiteX27" fmla="*/ 1378218 w 2259427"/>
              <a:gd name="connsiteY27" fmla="*/ 245442 h 444152"/>
              <a:gd name="connsiteX28" fmla="*/ 1378218 w 2259427"/>
              <a:gd name="connsiteY28" fmla="*/ 116296 h 444152"/>
              <a:gd name="connsiteX29" fmla="*/ 1321088 w 2259427"/>
              <a:gd name="connsiteY29" fmla="*/ 103821 h 444152"/>
              <a:gd name="connsiteX30" fmla="*/ 2168103 w 2259427"/>
              <a:gd name="connsiteY30" fmla="*/ 102196 h 444152"/>
              <a:gd name="connsiteX31" fmla="*/ 2096887 w 2259427"/>
              <a:gd name="connsiteY31" fmla="*/ 176223 h 444152"/>
              <a:gd name="connsiteX32" fmla="*/ 2096887 w 2259427"/>
              <a:gd name="connsiteY32" fmla="*/ 240999 h 444152"/>
              <a:gd name="connsiteX33" fmla="*/ 2239713 w 2259427"/>
              <a:gd name="connsiteY33" fmla="*/ 185074 h 444152"/>
              <a:gd name="connsiteX34" fmla="*/ 2168103 w 2259427"/>
              <a:gd name="connsiteY34" fmla="*/ 102196 h 444152"/>
              <a:gd name="connsiteX35" fmla="*/ 1698272 w 2259427"/>
              <a:gd name="connsiteY35" fmla="*/ 101001 h 444152"/>
              <a:gd name="connsiteX36" fmla="*/ 1615793 w 2259427"/>
              <a:gd name="connsiteY36" fmla="*/ 183985 h 444152"/>
              <a:gd name="connsiteX37" fmla="*/ 1780751 w 2259427"/>
              <a:gd name="connsiteY37" fmla="*/ 183985 h 444152"/>
              <a:gd name="connsiteX38" fmla="*/ 1698272 w 2259427"/>
              <a:gd name="connsiteY38" fmla="*/ 101001 h 444152"/>
              <a:gd name="connsiteX39" fmla="*/ 1841552 w 2259427"/>
              <a:gd name="connsiteY39" fmla="*/ 88927 h 444152"/>
              <a:gd name="connsiteX40" fmla="*/ 1860866 w 2259427"/>
              <a:gd name="connsiteY40" fmla="*/ 88927 h 444152"/>
              <a:gd name="connsiteX41" fmla="*/ 1860866 w 2259427"/>
              <a:gd name="connsiteY41" fmla="*/ 206811 h 444152"/>
              <a:gd name="connsiteX42" fmla="*/ 1924031 w 2259427"/>
              <a:gd name="connsiteY42" fmla="*/ 269170 h 444152"/>
              <a:gd name="connsiteX43" fmla="*/ 1985590 w 2259427"/>
              <a:gd name="connsiteY43" fmla="*/ 203588 h 444152"/>
              <a:gd name="connsiteX44" fmla="*/ 1985590 w 2259427"/>
              <a:gd name="connsiteY44" fmla="*/ 88927 h 444152"/>
              <a:gd name="connsiteX45" fmla="*/ 2004905 w 2259427"/>
              <a:gd name="connsiteY45" fmla="*/ 88927 h 444152"/>
              <a:gd name="connsiteX46" fmla="*/ 2004905 w 2259427"/>
              <a:gd name="connsiteY46" fmla="*/ 233365 h 444152"/>
              <a:gd name="connsiteX47" fmla="*/ 2029441 w 2259427"/>
              <a:gd name="connsiteY47" fmla="*/ 267565 h 444152"/>
              <a:gd name="connsiteX48" fmla="*/ 2029847 w 2259427"/>
              <a:gd name="connsiteY48" fmla="*/ 283656 h 444152"/>
              <a:gd name="connsiteX49" fmla="*/ 1987602 w 2259427"/>
              <a:gd name="connsiteY49" fmla="*/ 252273 h 444152"/>
              <a:gd name="connsiteX50" fmla="*/ 1919608 w 2259427"/>
              <a:gd name="connsiteY50" fmla="*/ 287279 h 444152"/>
              <a:gd name="connsiteX51" fmla="*/ 1841552 w 2259427"/>
              <a:gd name="connsiteY51" fmla="*/ 206811 h 444152"/>
              <a:gd name="connsiteX52" fmla="*/ 1322293 w 2259427"/>
              <a:gd name="connsiteY52" fmla="*/ 84913 h 444152"/>
              <a:gd name="connsiteX53" fmla="*/ 1397126 w 2259427"/>
              <a:gd name="connsiteY53" fmla="*/ 103422 h 444152"/>
              <a:gd name="connsiteX54" fmla="*/ 1397126 w 2259427"/>
              <a:gd name="connsiteY54" fmla="*/ 300162 h 444152"/>
              <a:gd name="connsiteX55" fmla="*/ 1309819 w 2259427"/>
              <a:gd name="connsiteY55" fmla="*/ 389881 h 444152"/>
              <a:gd name="connsiteX56" fmla="*/ 1230563 w 2259427"/>
              <a:gd name="connsiteY56" fmla="*/ 368155 h 444152"/>
              <a:gd name="connsiteX57" fmla="*/ 1235392 w 2259427"/>
              <a:gd name="connsiteY57" fmla="*/ 350453 h 444152"/>
              <a:gd name="connsiteX58" fmla="*/ 1309819 w 2259427"/>
              <a:gd name="connsiteY58" fmla="*/ 371778 h 444152"/>
              <a:gd name="connsiteX59" fmla="*/ 1378218 w 2259427"/>
              <a:gd name="connsiteY59" fmla="*/ 300162 h 444152"/>
              <a:gd name="connsiteX60" fmla="*/ 1378218 w 2259427"/>
              <a:gd name="connsiteY60" fmla="*/ 265962 h 444152"/>
              <a:gd name="connsiteX61" fmla="*/ 1310225 w 2259427"/>
              <a:gd name="connsiteY61" fmla="*/ 288087 h 444152"/>
              <a:gd name="connsiteX62" fmla="*/ 1217283 w 2259427"/>
              <a:gd name="connsiteY62" fmla="*/ 185495 h 444152"/>
              <a:gd name="connsiteX63" fmla="*/ 1322293 w 2259427"/>
              <a:gd name="connsiteY63" fmla="*/ 84913 h 444152"/>
              <a:gd name="connsiteX64" fmla="*/ 1537958 w 2259427"/>
              <a:gd name="connsiteY64" fmla="*/ 84905 h 444152"/>
              <a:gd name="connsiteX65" fmla="*/ 1587443 w 2259427"/>
              <a:gd name="connsiteY65" fmla="*/ 100196 h 444152"/>
              <a:gd name="connsiteX66" fmla="*/ 1580603 w 2259427"/>
              <a:gd name="connsiteY66" fmla="*/ 117093 h 444152"/>
              <a:gd name="connsiteX67" fmla="*/ 1536347 w 2259427"/>
              <a:gd name="connsiteY67" fmla="*/ 103813 h 444152"/>
              <a:gd name="connsiteX68" fmla="*/ 1479622 w 2259427"/>
              <a:gd name="connsiteY68" fmla="*/ 157327 h 444152"/>
              <a:gd name="connsiteX69" fmla="*/ 1479622 w 2259427"/>
              <a:gd name="connsiteY69" fmla="*/ 282851 h 444152"/>
              <a:gd name="connsiteX70" fmla="*/ 1460308 w 2259427"/>
              <a:gd name="connsiteY70" fmla="*/ 282851 h 444152"/>
              <a:gd name="connsiteX71" fmla="*/ 1460308 w 2259427"/>
              <a:gd name="connsiteY71" fmla="*/ 133584 h 444152"/>
              <a:gd name="connsiteX72" fmla="*/ 1435366 w 2259427"/>
              <a:gd name="connsiteY72" fmla="*/ 105824 h 444152"/>
              <a:gd name="connsiteX73" fmla="*/ 1434560 w 2259427"/>
              <a:gd name="connsiteY73" fmla="*/ 89334 h 444152"/>
              <a:gd name="connsiteX74" fmla="*/ 1478816 w 2259427"/>
              <a:gd name="connsiteY74" fmla="*/ 114676 h 444152"/>
              <a:gd name="connsiteX75" fmla="*/ 1537958 w 2259427"/>
              <a:gd name="connsiteY75" fmla="*/ 84905 h 444152"/>
              <a:gd name="connsiteX76" fmla="*/ 2171320 w 2259427"/>
              <a:gd name="connsiteY76" fmla="*/ 84093 h 444152"/>
              <a:gd name="connsiteX77" fmla="*/ 2259427 w 2259427"/>
              <a:gd name="connsiteY77" fmla="*/ 185074 h 444152"/>
              <a:gd name="connsiteX78" fmla="*/ 2096887 w 2259427"/>
              <a:gd name="connsiteY78" fmla="*/ 261113 h 444152"/>
              <a:gd name="connsiteX79" fmla="*/ 2096887 w 2259427"/>
              <a:gd name="connsiteY79" fmla="*/ 383020 h 444152"/>
              <a:gd name="connsiteX80" fmla="*/ 2077978 w 2259427"/>
              <a:gd name="connsiteY80" fmla="*/ 383020 h 444152"/>
              <a:gd name="connsiteX81" fmla="*/ 2077978 w 2259427"/>
              <a:gd name="connsiteY81" fmla="*/ 148057 h 444152"/>
              <a:gd name="connsiteX82" fmla="*/ 2053036 w 2259427"/>
              <a:gd name="connsiteY82" fmla="*/ 103001 h 444152"/>
              <a:gd name="connsiteX83" fmla="*/ 2052230 w 2259427"/>
              <a:gd name="connsiteY83" fmla="*/ 86904 h 444152"/>
              <a:gd name="connsiteX84" fmla="*/ 2094475 w 2259427"/>
              <a:gd name="connsiteY84" fmla="*/ 122309 h 444152"/>
              <a:gd name="connsiteX85" fmla="*/ 2094475 w 2259427"/>
              <a:gd name="connsiteY85" fmla="*/ 127944 h 444152"/>
              <a:gd name="connsiteX86" fmla="*/ 2171320 w 2259427"/>
              <a:gd name="connsiteY86" fmla="*/ 84093 h 444152"/>
              <a:gd name="connsiteX87" fmla="*/ 1698269 w 2259427"/>
              <a:gd name="connsiteY87" fmla="*/ 83503 h 444152"/>
              <a:gd name="connsiteX88" fmla="*/ 1800059 w 2259427"/>
              <a:gd name="connsiteY88" fmla="*/ 183985 h 444152"/>
              <a:gd name="connsiteX89" fmla="*/ 1596479 w 2259427"/>
              <a:gd name="connsiteY89" fmla="*/ 183985 h 444152"/>
              <a:gd name="connsiteX90" fmla="*/ 1698269 w 2259427"/>
              <a:gd name="connsiteY90" fmla="*/ 83503 h 444152"/>
              <a:gd name="connsiteX91" fmla="*/ 6592 w 2259427"/>
              <a:gd name="connsiteY91" fmla="*/ 78970 h 444152"/>
              <a:gd name="connsiteX92" fmla="*/ 181138 w 2259427"/>
              <a:gd name="connsiteY92" fmla="*/ 78970 h 444152"/>
              <a:gd name="connsiteX93" fmla="*/ 181138 w 2259427"/>
              <a:gd name="connsiteY93" fmla="*/ 86007 h 444152"/>
              <a:gd name="connsiteX94" fmla="*/ 88811 w 2259427"/>
              <a:gd name="connsiteY94" fmla="*/ 237698 h 444152"/>
              <a:gd name="connsiteX95" fmla="*/ 181138 w 2259427"/>
              <a:gd name="connsiteY95" fmla="*/ 237698 h 444152"/>
              <a:gd name="connsiteX96" fmla="*/ 181138 w 2259427"/>
              <a:gd name="connsiteY96" fmla="*/ 290894 h 444152"/>
              <a:gd name="connsiteX97" fmla="*/ 0 w 2259427"/>
              <a:gd name="connsiteY97" fmla="*/ 290894 h 444152"/>
              <a:gd name="connsiteX98" fmla="*/ 0 w 2259427"/>
              <a:gd name="connsiteY98" fmla="*/ 283858 h 444152"/>
              <a:gd name="connsiteX99" fmla="*/ 93646 w 2259427"/>
              <a:gd name="connsiteY99" fmla="*/ 129978 h 444152"/>
              <a:gd name="connsiteX100" fmla="*/ 6592 w 2259427"/>
              <a:gd name="connsiteY100" fmla="*/ 129978 h 444152"/>
              <a:gd name="connsiteX101" fmla="*/ 1032311 w 2259427"/>
              <a:gd name="connsiteY101" fmla="*/ 74573 h 444152"/>
              <a:gd name="connsiteX102" fmla="*/ 1142663 w 2259427"/>
              <a:gd name="connsiteY102" fmla="*/ 98818 h 444152"/>
              <a:gd name="connsiteX103" fmla="*/ 1142663 w 2259427"/>
              <a:gd name="connsiteY103" fmla="*/ 278947 h 444152"/>
              <a:gd name="connsiteX104" fmla="*/ 1052970 w 2259427"/>
              <a:gd name="connsiteY104" fmla="*/ 295292 h 444152"/>
              <a:gd name="connsiteX105" fmla="*/ 930746 w 2259427"/>
              <a:gd name="connsiteY105" fmla="*/ 188010 h 444152"/>
              <a:gd name="connsiteX106" fmla="*/ 1032311 w 2259427"/>
              <a:gd name="connsiteY106" fmla="*/ 74573 h 444152"/>
              <a:gd name="connsiteX107" fmla="*/ 307499 w 2259427"/>
              <a:gd name="connsiteY107" fmla="*/ 74573 h 444152"/>
              <a:gd name="connsiteX108" fmla="*/ 417852 w 2259427"/>
              <a:gd name="connsiteY108" fmla="*/ 98818 h 444152"/>
              <a:gd name="connsiteX109" fmla="*/ 417852 w 2259427"/>
              <a:gd name="connsiteY109" fmla="*/ 278947 h 444152"/>
              <a:gd name="connsiteX110" fmla="*/ 328165 w 2259427"/>
              <a:gd name="connsiteY110" fmla="*/ 295292 h 444152"/>
              <a:gd name="connsiteX111" fmla="*/ 205934 w 2259427"/>
              <a:gd name="connsiteY111" fmla="*/ 188010 h 444152"/>
              <a:gd name="connsiteX112" fmla="*/ 307499 w 2259427"/>
              <a:gd name="connsiteY112" fmla="*/ 74573 h 444152"/>
              <a:gd name="connsiteX113" fmla="*/ 462153 w 2259427"/>
              <a:gd name="connsiteY113" fmla="*/ 7595 h 444152"/>
              <a:gd name="connsiteX114" fmla="*/ 523268 w 2259427"/>
              <a:gd name="connsiteY114" fmla="*/ 7595 h 444152"/>
              <a:gd name="connsiteX115" fmla="*/ 523268 w 2259427"/>
              <a:gd name="connsiteY115" fmla="*/ 84694 h 444152"/>
              <a:gd name="connsiteX116" fmla="*/ 572506 w 2259427"/>
              <a:gd name="connsiteY116" fmla="*/ 74573 h 444152"/>
              <a:gd name="connsiteX117" fmla="*/ 674070 w 2259427"/>
              <a:gd name="connsiteY117" fmla="*/ 188010 h 444152"/>
              <a:gd name="connsiteX118" fmla="*/ 551846 w 2259427"/>
              <a:gd name="connsiteY118" fmla="*/ 295292 h 444152"/>
              <a:gd name="connsiteX119" fmla="*/ 462153 w 2259427"/>
              <a:gd name="connsiteY119" fmla="*/ 278585 h 444152"/>
              <a:gd name="connsiteX120" fmla="*/ 709926 w 2259427"/>
              <a:gd name="connsiteY120" fmla="*/ 7151 h 444152"/>
              <a:gd name="connsiteX121" fmla="*/ 771041 w 2259427"/>
              <a:gd name="connsiteY121" fmla="*/ 7151 h 444152"/>
              <a:gd name="connsiteX122" fmla="*/ 771041 w 2259427"/>
              <a:gd name="connsiteY122" fmla="*/ 156799 h 444152"/>
              <a:gd name="connsiteX123" fmla="*/ 785990 w 2259427"/>
              <a:gd name="connsiteY123" fmla="*/ 156799 h 444152"/>
              <a:gd name="connsiteX124" fmla="*/ 847099 w 2259427"/>
              <a:gd name="connsiteY124" fmla="*/ 78970 h 444152"/>
              <a:gd name="connsiteX125" fmla="*/ 905144 w 2259427"/>
              <a:gd name="connsiteY125" fmla="*/ 78970 h 444152"/>
              <a:gd name="connsiteX126" fmla="*/ 854574 w 2259427"/>
              <a:gd name="connsiteY126" fmla="*/ 183181 h 444152"/>
              <a:gd name="connsiteX127" fmla="*/ 915251 w 2259427"/>
              <a:gd name="connsiteY127" fmla="*/ 284296 h 444152"/>
              <a:gd name="connsiteX128" fmla="*/ 915251 w 2259427"/>
              <a:gd name="connsiteY128" fmla="*/ 290450 h 444152"/>
              <a:gd name="connsiteX129" fmla="*/ 853260 w 2259427"/>
              <a:gd name="connsiteY129" fmla="*/ 290450 h 444152"/>
              <a:gd name="connsiteX130" fmla="*/ 802697 w 2259427"/>
              <a:gd name="connsiteY130" fmla="*/ 202521 h 444152"/>
              <a:gd name="connsiteX131" fmla="*/ 785108 w 2259427"/>
              <a:gd name="connsiteY131" fmla="*/ 205160 h 444152"/>
              <a:gd name="connsiteX132" fmla="*/ 771041 w 2259427"/>
              <a:gd name="connsiteY132" fmla="*/ 205160 h 444152"/>
              <a:gd name="connsiteX133" fmla="*/ 771041 w 2259427"/>
              <a:gd name="connsiteY133" fmla="*/ 290450 h 444152"/>
              <a:gd name="connsiteX134" fmla="*/ 709926 w 2259427"/>
              <a:gd name="connsiteY134" fmla="*/ 290450 h 444152"/>
              <a:gd name="connsiteX135" fmla="*/ 95842 w 2259427"/>
              <a:gd name="connsiteY135" fmla="*/ 0 h 444152"/>
              <a:gd name="connsiteX136" fmla="*/ 129153 w 2259427"/>
              <a:gd name="connsiteY136" fmla="*/ 30805 h 444152"/>
              <a:gd name="connsiteX137" fmla="*/ 95842 w 2259427"/>
              <a:gd name="connsiteY137" fmla="*/ 60786 h 444152"/>
              <a:gd name="connsiteX138" fmla="*/ 63374 w 2259427"/>
              <a:gd name="connsiteY138" fmla="*/ 30805 h 444152"/>
              <a:gd name="connsiteX139" fmla="*/ 95842 w 2259427"/>
              <a:gd name="connsiteY139" fmla="*/ 0 h 444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2259427" h="444152">
                <a:moveTo>
                  <a:pt x="204906" y="315259"/>
                </a:moveTo>
                <a:cubicBezTo>
                  <a:pt x="273084" y="357505"/>
                  <a:pt x="355379" y="382238"/>
                  <a:pt x="443917" y="382238"/>
                </a:cubicBezTo>
                <a:cubicBezTo>
                  <a:pt x="532449" y="382238"/>
                  <a:pt x="614725" y="357511"/>
                  <a:pt x="682903" y="315285"/>
                </a:cubicBezTo>
                <a:lnTo>
                  <a:pt x="692598" y="361388"/>
                </a:lnTo>
                <a:cubicBezTo>
                  <a:pt x="623196" y="413347"/>
                  <a:pt x="537088" y="444152"/>
                  <a:pt x="443917" y="444152"/>
                </a:cubicBezTo>
                <a:cubicBezTo>
                  <a:pt x="350734" y="444152"/>
                  <a:pt x="264613" y="413335"/>
                  <a:pt x="195211" y="361362"/>
                </a:cubicBezTo>
                <a:close/>
                <a:moveTo>
                  <a:pt x="1042863" y="124255"/>
                </a:moveTo>
                <a:cubicBezTo>
                  <a:pt x="1014284" y="125581"/>
                  <a:pt x="992299" y="140524"/>
                  <a:pt x="992299" y="188010"/>
                </a:cubicBezTo>
                <a:cubicBezTo>
                  <a:pt x="992299" y="231099"/>
                  <a:pt x="1014722" y="245166"/>
                  <a:pt x="1045940" y="245604"/>
                </a:cubicBezTo>
                <a:cubicBezTo>
                  <a:pt x="1057367" y="246041"/>
                  <a:pt x="1069677" y="243852"/>
                  <a:pt x="1082868" y="240331"/>
                </a:cubicBezTo>
                <a:lnTo>
                  <a:pt x="1082868" y="132814"/>
                </a:lnTo>
                <a:cubicBezTo>
                  <a:pt x="1068446" y="126349"/>
                  <a:pt x="1055166" y="123817"/>
                  <a:pt x="1042863" y="124255"/>
                </a:cubicBezTo>
                <a:close/>
                <a:moveTo>
                  <a:pt x="561960" y="124255"/>
                </a:moveTo>
                <a:cubicBezTo>
                  <a:pt x="549651" y="123817"/>
                  <a:pt x="536015" y="127332"/>
                  <a:pt x="521948" y="135251"/>
                </a:cubicBezTo>
                <a:lnTo>
                  <a:pt x="521948" y="240331"/>
                </a:lnTo>
                <a:cubicBezTo>
                  <a:pt x="535133" y="243852"/>
                  <a:pt x="547449" y="246041"/>
                  <a:pt x="558883" y="245604"/>
                </a:cubicBezTo>
                <a:cubicBezTo>
                  <a:pt x="590094" y="245166"/>
                  <a:pt x="612517" y="231099"/>
                  <a:pt x="612517" y="188010"/>
                </a:cubicBezTo>
                <a:cubicBezTo>
                  <a:pt x="612517" y="140524"/>
                  <a:pt x="590538" y="125581"/>
                  <a:pt x="561960" y="124255"/>
                </a:cubicBezTo>
                <a:close/>
                <a:moveTo>
                  <a:pt x="318051" y="124255"/>
                </a:moveTo>
                <a:cubicBezTo>
                  <a:pt x="289473" y="125581"/>
                  <a:pt x="267487" y="140524"/>
                  <a:pt x="267487" y="188010"/>
                </a:cubicBezTo>
                <a:cubicBezTo>
                  <a:pt x="267487" y="231099"/>
                  <a:pt x="289911" y="245166"/>
                  <a:pt x="321128" y="245604"/>
                </a:cubicBezTo>
                <a:cubicBezTo>
                  <a:pt x="332556" y="246041"/>
                  <a:pt x="344865" y="243852"/>
                  <a:pt x="358063" y="240331"/>
                </a:cubicBezTo>
                <a:lnTo>
                  <a:pt x="358063" y="132814"/>
                </a:lnTo>
                <a:cubicBezTo>
                  <a:pt x="343634" y="126349"/>
                  <a:pt x="330360" y="123817"/>
                  <a:pt x="318051" y="124255"/>
                </a:cubicBezTo>
                <a:close/>
                <a:moveTo>
                  <a:pt x="1321088" y="103821"/>
                </a:moveTo>
                <a:cubicBezTo>
                  <a:pt x="1270797" y="103821"/>
                  <a:pt x="1236597" y="130375"/>
                  <a:pt x="1236597" y="185495"/>
                </a:cubicBezTo>
                <a:cubicBezTo>
                  <a:pt x="1236597" y="244637"/>
                  <a:pt x="1271197" y="270791"/>
                  <a:pt x="1311430" y="270791"/>
                </a:cubicBezTo>
                <a:cubicBezTo>
                  <a:pt x="1333555" y="270791"/>
                  <a:pt x="1356893" y="262745"/>
                  <a:pt x="1378218" y="245442"/>
                </a:cubicBezTo>
                <a:lnTo>
                  <a:pt x="1378218" y="116296"/>
                </a:lnTo>
                <a:cubicBezTo>
                  <a:pt x="1358504" y="107844"/>
                  <a:pt x="1339590" y="103821"/>
                  <a:pt x="1321088" y="103821"/>
                </a:cubicBezTo>
                <a:close/>
                <a:moveTo>
                  <a:pt x="2168103" y="102196"/>
                </a:moveTo>
                <a:cubicBezTo>
                  <a:pt x="2125458" y="102196"/>
                  <a:pt x="2098098" y="135589"/>
                  <a:pt x="2096887" y="176223"/>
                </a:cubicBezTo>
                <a:lnTo>
                  <a:pt x="2096887" y="240999"/>
                </a:lnTo>
                <a:cubicBezTo>
                  <a:pt x="2156029" y="290484"/>
                  <a:pt x="2239713" y="267953"/>
                  <a:pt x="2239713" y="185074"/>
                </a:cubicBezTo>
                <a:cubicBezTo>
                  <a:pt x="2239713" y="141624"/>
                  <a:pt x="2215577" y="102196"/>
                  <a:pt x="2168103" y="102196"/>
                </a:cubicBezTo>
                <a:close/>
                <a:moveTo>
                  <a:pt x="1698272" y="101001"/>
                </a:moveTo>
                <a:cubicBezTo>
                  <a:pt x="1657033" y="101001"/>
                  <a:pt x="1615793" y="128662"/>
                  <a:pt x="1615793" y="183985"/>
                </a:cubicBezTo>
                <a:cubicBezTo>
                  <a:pt x="1615793" y="293824"/>
                  <a:pt x="1780751" y="294623"/>
                  <a:pt x="1780751" y="183985"/>
                </a:cubicBezTo>
                <a:cubicBezTo>
                  <a:pt x="1780751" y="128662"/>
                  <a:pt x="1739511" y="101001"/>
                  <a:pt x="1698272" y="101001"/>
                </a:cubicBezTo>
                <a:close/>
                <a:moveTo>
                  <a:pt x="1841552" y="88927"/>
                </a:moveTo>
                <a:lnTo>
                  <a:pt x="1860866" y="88927"/>
                </a:lnTo>
                <a:lnTo>
                  <a:pt x="1860866" y="206811"/>
                </a:lnTo>
                <a:cubicBezTo>
                  <a:pt x="1860866" y="245433"/>
                  <a:pt x="1886614" y="269170"/>
                  <a:pt x="1924031" y="269170"/>
                </a:cubicBezTo>
                <a:cubicBezTo>
                  <a:pt x="1962659" y="269576"/>
                  <a:pt x="1985590" y="243822"/>
                  <a:pt x="1985590" y="203588"/>
                </a:cubicBezTo>
                <a:lnTo>
                  <a:pt x="1985590" y="88927"/>
                </a:lnTo>
                <a:lnTo>
                  <a:pt x="2004905" y="88927"/>
                </a:lnTo>
                <a:lnTo>
                  <a:pt x="2004905" y="233365"/>
                </a:lnTo>
                <a:cubicBezTo>
                  <a:pt x="2004905" y="264342"/>
                  <a:pt x="2008122" y="270782"/>
                  <a:pt x="2029441" y="267565"/>
                </a:cubicBezTo>
                <a:lnTo>
                  <a:pt x="2029847" y="283656"/>
                </a:lnTo>
                <a:cubicBezTo>
                  <a:pt x="2000476" y="288078"/>
                  <a:pt x="1987602" y="283250"/>
                  <a:pt x="1987602" y="252273"/>
                </a:cubicBezTo>
                <a:cubicBezTo>
                  <a:pt x="1969493" y="279227"/>
                  <a:pt x="1950185" y="287279"/>
                  <a:pt x="1919608" y="287279"/>
                </a:cubicBezTo>
                <a:cubicBezTo>
                  <a:pt x="1870523" y="287279"/>
                  <a:pt x="1841552" y="253479"/>
                  <a:pt x="1841552" y="206811"/>
                </a:cubicBezTo>
                <a:close/>
                <a:moveTo>
                  <a:pt x="1322293" y="84913"/>
                </a:moveTo>
                <a:cubicBezTo>
                  <a:pt x="1349253" y="85313"/>
                  <a:pt x="1373390" y="92559"/>
                  <a:pt x="1397126" y="103422"/>
                </a:cubicBezTo>
                <a:lnTo>
                  <a:pt x="1397126" y="300162"/>
                </a:lnTo>
                <a:cubicBezTo>
                  <a:pt x="1397126" y="362927"/>
                  <a:pt x="1356893" y="389475"/>
                  <a:pt x="1309819" y="389881"/>
                </a:cubicBezTo>
                <a:cubicBezTo>
                  <a:pt x="1283671" y="390280"/>
                  <a:pt x="1255505" y="382641"/>
                  <a:pt x="1230563" y="368155"/>
                </a:cubicBezTo>
                <a:lnTo>
                  <a:pt x="1235392" y="350453"/>
                </a:lnTo>
                <a:cubicBezTo>
                  <a:pt x="1258322" y="363726"/>
                  <a:pt x="1285283" y="371778"/>
                  <a:pt x="1309819" y="371778"/>
                </a:cubicBezTo>
                <a:cubicBezTo>
                  <a:pt x="1347235" y="371778"/>
                  <a:pt x="1378218" y="352064"/>
                  <a:pt x="1378218" y="300162"/>
                </a:cubicBezTo>
                <a:lnTo>
                  <a:pt x="1378218" y="265962"/>
                </a:lnTo>
                <a:cubicBezTo>
                  <a:pt x="1355687" y="280848"/>
                  <a:pt x="1332756" y="287688"/>
                  <a:pt x="1310225" y="288087"/>
                </a:cubicBezTo>
                <a:cubicBezTo>
                  <a:pt x="1259934" y="289299"/>
                  <a:pt x="1217283" y="255100"/>
                  <a:pt x="1217283" y="185495"/>
                </a:cubicBezTo>
                <a:cubicBezTo>
                  <a:pt x="1217283" y="118707"/>
                  <a:pt x="1261539" y="84913"/>
                  <a:pt x="1322293" y="84913"/>
                </a:cubicBezTo>
                <a:close/>
                <a:moveTo>
                  <a:pt x="1537958" y="84905"/>
                </a:moveTo>
                <a:cubicBezTo>
                  <a:pt x="1556866" y="85311"/>
                  <a:pt x="1574569" y="90939"/>
                  <a:pt x="1587443" y="100196"/>
                </a:cubicBezTo>
                <a:lnTo>
                  <a:pt x="1580603" y="117093"/>
                </a:lnTo>
                <a:cubicBezTo>
                  <a:pt x="1568135" y="107836"/>
                  <a:pt x="1552038" y="103813"/>
                  <a:pt x="1536347" y="103813"/>
                </a:cubicBezTo>
                <a:cubicBezTo>
                  <a:pt x="1507382" y="103813"/>
                  <a:pt x="1479622" y="124333"/>
                  <a:pt x="1479622" y="157327"/>
                </a:cubicBezTo>
                <a:lnTo>
                  <a:pt x="1479622" y="282851"/>
                </a:lnTo>
                <a:lnTo>
                  <a:pt x="1460308" y="282851"/>
                </a:lnTo>
                <a:lnTo>
                  <a:pt x="1460308" y="133584"/>
                </a:lnTo>
                <a:cubicBezTo>
                  <a:pt x="1460308" y="114676"/>
                  <a:pt x="1459908" y="102607"/>
                  <a:pt x="1435366" y="105824"/>
                </a:cubicBezTo>
                <a:lnTo>
                  <a:pt x="1434560" y="89334"/>
                </a:lnTo>
                <a:cubicBezTo>
                  <a:pt x="1465536" y="84099"/>
                  <a:pt x="1478816" y="92145"/>
                  <a:pt x="1478816" y="114676"/>
                </a:cubicBezTo>
                <a:cubicBezTo>
                  <a:pt x="1491690" y="91745"/>
                  <a:pt x="1515427" y="83699"/>
                  <a:pt x="1537958" y="84905"/>
                </a:cubicBezTo>
                <a:close/>
                <a:moveTo>
                  <a:pt x="2171320" y="84093"/>
                </a:moveTo>
                <a:cubicBezTo>
                  <a:pt x="2228051" y="84093"/>
                  <a:pt x="2259427" y="131567"/>
                  <a:pt x="2259427" y="185074"/>
                </a:cubicBezTo>
                <a:cubicBezTo>
                  <a:pt x="2259427" y="277211"/>
                  <a:pt x="2167297" y="313422"/>
                  <a:pt x="2096887" y="261113"/>
                </a:cubicBezTo>
                <a:lnTo>
                  <a:pt x="2096887" y="383020"/>
                </a:lnTo>
                <a:lnTo>
                  <a:pt x="2077978" y="383020"/>
                </a:lnTo>
                <a:lnTo>
                  <a:pt x="2077978" y="148057"/>
                </a:lnTo>
                <a:cubicBezTo>
                  <a:pt x="2077978" y="118693"/>
                  <a:pt x="2080396" y="98573"/>
                  <a:pt x="2053036" y="103001"/>
                </a:cubicBezTo>
                <a:lnTo>
                  <a:pt x="2052230" y="86904"/>
                </a:lnTo>
                <a:cubicBezTo>
                  <a:pt x="2084419" y="81676"/>
                  <a:pt x="2094475" y="95356"/>
                  <a:pt x="2094475" y="122309"/>
                </a:cubicBezTo>
                <a:lnTo>
                  <a:pt x="2094475" y="127944"/>
                </a:lnTo>
                <a:cubicBezTo>
                  <a:pt x="2110167" y="95755"/>
                  <a:pt x="2137526" y="84093"/>
                  <a:pt x="2171320" y="84093"/>
                </a:cubicBezTo>
                <a:close/>
                <a:moveTo>
                  <a:pt x="1698269" y="83503"/>
                </a:moveTo>
                <a:cubicBezTo>
                  <a:pt x="1749164" y="83503"/>
                  <a:pt x="1800059" y="116997"/>
                  <a:pt x="1800059" y="183985"/>
                </a:cubicBezTo>
                <a:cubicBezTo>
                  <a:pt x="1800059" y="317560"/>
                  <a:pt x="1596479" y="317560"/>
                  <a:pt x="1596479" y="183985"/>
                </a:cubicBezTo>
                <a:cubicBezTo>
                  <a:pt x="1596479" y="116997"/>
                  <a:pt x="1647374" y="83503"/>
                  <a:pt x="1698269" y="83503"/>
                </a:cubicBezTo>
                <a:close/>
                <a:moveTo>
                  <a:pt x="6592" y="78970"/>
                </a:moveTo>
                <a:lnTo>
                  <a:pt x="181138" y="78970"/>
                </a:lnTo>
                <a:lnTo>
                  <a:pt x="181138" y="86007"/>
                </a:lnTo>
                <a:lnTo>
                  <a:pt x="88811" y="237698"/>
                </a:lnTo>
                <a:lnTo>
                  <a:pt x="181138" y="237698"/>
                </a:lnTo>
                <a:lnTo>
                  <a:pt x="181138" y="290894"/>
                </a:lnTo>
                <a:lnTo>
                  <a:pt x="0" y="290894"/>
                </a:lnTo>
                <a:lnTo>
                  <a:pt x="0" y="283858"/>
                </a:lnTo>
                <a:lnTo>
                  <a:pt x="93646" y="129978"/>
                </a:lnTo>
                <a:lnTo>
                  <a:pt x="6592" y="129978"/>
                </a:lnTo>
                <a:close/>
                <a:moveTo>
                  <a:pt x="1032311" y="74573"/>
                </a:moveTo>
                <a:cubicBezTo>
                  <a:pt x="1092779" y="74573"/>
                  <a:pt x="1142663" y="98818"/>
                  <a:pt x="1142663" y="98818"/>
                </a:cubicBezTo>
                <a:lnTo>
                  <a:pt x="1142663" y="278947"/>
                </a:lnTo>
                <a:cubicBezTo>
                  <a:pt x="1116693" y="282811"/>
                  <a:pt x="1093743" y="294879"/>
                  <a:pt x="1052970" y="295292"/>
                </a:cubicBezTo>
                <a:cubicBezTo>
                  <a:pt x="988346" y="295945"/>
                  <a:pt x="930746" y="270673"/>
                  <a:pt x="930746" y="188010"/>
                </a:cubicBezTo>
                <a:cubicBezTo>
                  <a:pt x="930746" y="114591"/>
                  <a:pt x="973391" y="74573"/>
                  <a:pt x="1032311" y="74573"/>
                </a:cubicBezTo>
                <a:close/>
                <a:moveTo>
                  <a:pt x="307499" y="74573"/>
                </a:moveTo>
                <a:cubicBezTo>
                  <a:pt x="367967" y="74573"/>
                  <a:pt x="417852" y="98818"/>
                  <a:pt x="417852" y="98818"/>
                </a:cubicBezTo>
                <a:lnTo>
                  <a:pt x="417852" y="278947"/>
                </a:lnTo>
                <a:cubicBezTo>
                  <a:pt x="391882" y="282811"/>
                  <a:pt x="368932" y="294879"/>
                  <a:pt x="328165" y="295292"/>
                </a:cubicBezTo>
                <a:cubicBezTo>
                  <a:pt x="263534" y="295945"/>
                  <a:pt x="205934" y="270673"/>
                  <a:pt x="205934" y="188010"/>
                </a:cubicBezTo>
                <a:cubicBezTo>
                  <a:pt x="205934" y="114591"/>
                  <a:pt x="248579" y="74573"/>
                  <a:pt x="307499" y="74573"/>
                </a:cubicBezTo>
                <a:close/>
                <a:moveTo>
                  <a:pt x="462153" y="7595"/>
                </a:moveTo>
                <a:lnTo>
                  <a:pt x="523268" y="7595"/>
                </a:lnTo>
                <a:lnTo>
                  <a:pt x="523268" y="84694"/>
                </a:lnTo>
                <a:cubicBezTo>
                  <a:pt x="540412" y="77651"/>
                  <a:pt x="557119" y="74573"/>
                  <a:pt x="572506" y="74573"/>
                </a:cubicBezTo>
                <a:cubicBezTo>
                  <a:pt x="631425" y="74135"/>
                  <a:pt x="674070" y="114591"/>
                  <a:pt x="674070" y="188010"/>
                </a:cubicBezTo>
                <a:cubicBezTo>
                  <a:pt x="674070" y="270673"/>
                  <a:pt x="616470" y="294613"/>
                  <a:pt x="551846" y="295292"/>
                </a:cubicBezTo>
                <a:cubicBezTo>
                  <a:pt x="515521" y="295672"/>
                  <a:pt x="492228" y="283249"/>
                  <a:pt x="462153" y="278585"/>
                </a:cubicBezTo>
                <a:close/>
                <a:moveTo>
                  <a:pt x="709926" y="7151"/>
                </a:moveTo>
                <a:lnTo>
                  <a:pt x="771041" y="7151"/>
                </a:lnTo>
                <a:lnTo>
                  <a:pt x="771041" y="156799"/>
                </a:lnTo>
                <a:lnTo>
                  <a:pt x="785990" y="156799"/>
                </a:lnTo>
                <a:cubicBezTo>
                  <a:pt x="834796" y="156799"/>
                  <a:pt x="847099" y="122497"/>
                  <a:pt x="847099" y="78970"/>
                </a:cubicBezTo>
                <a:lnTo>
                  <a:pt x="905144" y="78970"/>
                </a:lnTo>
                <a:cubicBezTo>
                  <a:pt x="906457" y="123817"/>
                  <a:pt x="896343" y="161189"/>
                  <a:pt x="854574" y="183181"/>
                </a:cubicBezTo>
                <a:lnTo>
                  <a:pt x="915251" y="284296"/>
                </a:lnTo>
                <a:lnTo>
                  <a:pt x="915251" y="290450"/>
                </a:lnTo>
                <a:lnTo>
                  <a:pt x="853260" y="290450"/>
                </a:lnTo>
                <a:lnTo>
                  <a:pt x="802697" y="202521"/>
                </a:lnTo>
                <a:cubicBezTo>
                  <a:pt x="797424" y="204278"/>
                  <a:pt x="791707" y="205160"/>
                  <a:pt x="785108" y="205160"/>
                </a:cubicBezTo>
                <a:lnTo>
                  <a:pt x="771041" y="205160"/>
                </a:lnTo>
                <a:lnTo>
                  <a:pt x="771041" y="290450"/>
                </a:lnTo>
                <a:lnTo>
                  <a:pt x="709926" y="290450"/>
                </a:lnTo>
                <a:close/>
                <a:moveTo>
                  <a:pt x="95842" y="0"/>
                </a:moveTo>
                <a:cubicBezTo>
                  <a:pt x="114578" y="0"/>
                  <a:pt x="129153" y="12075"/>
                  <a:pt x="129153" y="30805"/>
                </a:cubicBezTo>
                <a:cubicBezTo>
                  <a:pt x="129153" y="49130"/>
                  <a:pt x="114578" y="60786"/>
                  <a:pt x="95842" y="60786"/>
                </a:cubicBezTo>
                <a:cubicBezTo>
                  <a:pt x="77942" y="60786"/>
                  <a:pt x="63374" y="49130"/>
                  <a:pt x="63374" y="30805"/>
                </a:cubicBezTo>
                <a:cubicBezTo>
                  <a:pt x="63374" y="12075"/>
                  <a:pt x="77942" y="0"/>
                  <a:pt x="9584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180000" indent="0">
              <a:buNone/>
              <a:defRPr sz="100">
                <a:noFill/>
              </a:defRPr>
            </a:lvl2pPr>
            <a:lvl3pPr marL="360000" indent="0">
              <a:buNone/>
              <a:defRPr sz="100">
                <a:noFill/>
              </a:defRPr>
            </a:lvl3pPr>
            <a:lvl4pPr marL="540000" indent="0">
              <a:buNone/>
              <a:defRPr sz="100">
                <a:noFill/>
              </a:defRPr>
            </a:lvl4pPr>
            <a:lvl5pPr marL="720000" indent="0">
              <a:buNone/>
              <a:defRPr sz="100">
                <a:noFill/>
              </a:defRPr>
            </a:lvl5pPr>
          </a:lstStyle>
          <a:p>
            <a:pPr lvl="0"/>
            <a:r>
              <a:rPr lang="en-US" noProof="0"/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16738875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3E657D9-19DF-469D-B64A-070C3077B715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9DFD98D-29B2-4D41-ACE3-A5B4DA00AF8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Wstaw zdjęcie</a:t>
            </a:r>
            <a:endParaRPr lang="en-GB"/>
          </a:p>
        </p:txBody>
      </p:sp>
      <p:sp>
        <p:nvSpPr>
          <p:cNvPr id="390" name="Text Placeholder 389">
            <a:extLst>
              <a:ext uri="{FF2B5EF4-FFF2-40B4-BE49-F238E27FC236}">
                <a16:creationId xmlns:a16="http://schemas.microsoft.com/office/drawing/2014/main" id="{56AA8022-34E0-4FBC-8B1A-2941CD03FC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43628" y="1733549"/>
            <a:ext cx="6048372" cy="3798889"/>
          </a:xfrm>
          <a:custGeom>
            <a:avLst/>
            <a:gdLst>
              <a:gd name="connsiteX0" fmla="*/ 90224 w 6048372"/>
              <a:gd name="connsiteY0" fmla="*/ 0 h 3798889"/>
              <a:gd name="connsiteX1" fmla="*/ 6048372 w 6048372"/>
              <a:gd name="connsiteY1" fmla="*/ 0 h 3798889"/>
              <a:gd name="connsiteX2" fmla="*/ 6048372 w 6048372"/>
              <a:gd name="connsiteY2" fmla="*/ 3798889 h 3798889"/>
              <a:gd name="connsiteX3" fmla="*/ 90224 w 6048372"/>
              <a:gd name="connsiteY3" fmla="*/ 3798889 h 3798889"/>
              <a:gd name="connsiteX4" fmla="*/ 0 w 6048372"/>
              <a:gd name="connsiteY4" fmla="*/ 3708665 h 3798889"/>
              <a:gd name="connsiteX5" fmla="*/ 0 w 6048372"/>
              <a:gd name="connsiteY5" fmla="*/ 90224 h 3798889"/>
              <a:gd name="connsiteX6" fmla="*/ 90224 w 6048372"/>
              <a:gd name="connsiteY6" fmla="*/ 0 h 3798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8372" h="3798889">
                <a:moveTo>
                  <a:pt x="90224" y="0"/>
                </a:moveTo>
                <a:lnTo>
                  <a:pt x="6048372" y="0"/>
                </a:lnTo>
                <a:lnTo>
                  <a:pt x="6048372" y="3798889"/>
                </a:lnTo>
                <a:lnTo>
                  <a:pt x="90224" y="3798889"/>
                </a:lnTo>
                <a:cubicBezTo>
                  <a:pt x="40395" y="3798889"/>
                  <a:pt x="0" y="3758494"/>
                  <a:pt x="0" y="3708665"/>
                </a:cubicBezTo>
                <a:lnTo>
                  <a:pt x="0" y="90224"/>
                </a:lnTo>
                <a:cubicBezTo>
                  <a:pt x="0" y="40395"/>
                  <a:pt x="40395" y="0"/>
                  <a:pt x="90224" y="0"/>
                </a:cubicBezTo>
                <a:close/>
              </a:path>
            </a:pathLst>
          </a:custGeom>
          <a:solidFill>
            <a:schemeClr val="accent1">
              <a:alpha val="91000"/>
            </a:schemeClr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252C9B-D625-43A3-9FC1-B016BBD488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2300" y="2741614"/>
            <a:ext cx="4400550" cy="1857372"/>
          </a:xfrm>
        </p:spPr>
        <p:txBody>
          <a:bodyPr anchor="ctr">
            <a:noAutofit/>
          </a:bodyPr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r>
              <a:rPr lang="en-US"/>
              <a:t> </a:t>
            </a:r>
            <a:r>
              <a:rPr lang="en-US" err="1"/>
              <a:t>slajdu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A58C7B-6FA6-4602-A62F-D19DCB5C66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72300" y="4794250"/>
            <a:ext cx="4400550" cy="384174"/>
          </a:xfrm>
        </p:spPr>
        <p:txBody>
          <a:bodyPr anchor="b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podtytuł</a:t>
            </a:r>
            <a:endParaRPr lang="en-US"/>
          </a:p>
        </p:txBody>
      </p:sp>
      <p:sp>
        <p:nvSpPr>
          <p:cNvPr id="387" name="Text Placeholder 386">
            <a:extLst>
              <a:ext uri="{FF2B5EF4-FFF2-40B4-BE49-F238E27FC236}">
                <a16:creationId xmlns:a16="http://schemas.microsoft.com/office/drawing/2014/main" id="{2BC182F4-E88C-4C5A-B357-882EC1E038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7942" y="2178395"/>
            <a:ext cx="2259427" cy="444152"/>
          </a:xfrm>
          <a:custGeom>
            <a:avLst/>
            <a:gdLst>
              <a:gd name="connsiteX0" fmla="*/ 204906 w 2259427"/>
              <a:gd name="connsiteY0" fmla="*/ 315259 h 444152"/>
              <a:gd name="connsiteX1" fmla="*/ 443917 w 2259427"/>
              <a:gd name="connsiteY1" fmla="*/ 382238 h 444152"/>
              <a:gd name="connsiteX2" fmla="*/ 682903 w 2259427"/>
              <a:gd name="connsiteY2" fmla="*/ 315285 h 444152"/>
              <a:gd name="connsiteX3" fmla="*/ 692598 w 2259427"/>
              <a:gd name="connsiteY3" fmla="*/ 361388 h 444152"/>
              <a:gd name="connsiteX4" fmla="*/ 443917 w 2259427"/>
              <a:gd name="connsiteY4" fmla="*/ 444152 h 444152"/>
              <a:gd name="connsiteX5" fmla="*/ 195211 w 2259427"/>
              <a:gd name="connsiteY5" fmla="*/ 361362 h 444152"/>
              <a:gd name="connsiteX6" fmla="*/ 1042863 w 2259427"/>
              <a:gd name="connsiteY6" fmla="*/ 124255 h 444152"/>
              <a:gd name="connsiteX7" fmla="*/ 992299 w 2259427"/>
              <a:gd name="connsiteY7" fmla="*/ 188010 h 444152"/>
              <a:gd name="connsiteX8" fmla="*/ 1045940 w 2259427"/>
              <a:gd name="connsiteY8" fmla="*/ 245604 h 444152"/>
              <a:gd name="connsiteX9" fmla="*/ 1082868 w 2259427"/>
              <a:gd name="connsiteY9" fmla="*/ 240331 h 444152"/>
              <a:gd name="connsiteX10" fmla="*/ 1082868 w 2259427"/>
              <a:gd name="connsiteY10" fmla="*/ 132814 h 444152"/>
              <a:gd name="connsiteX11" fmla="*/ 1042863 w 2259427"/>
              <a:gd name="connsiteY11" fmla="*/ 124255 h 444152"/>
              <a:gd name="connsiteX12" fmla="*/ 561960 w 2259427"/>
              <a:gd name="connsiteY12" fmla="*/ 124255 h 444152"/>
              <a:gd name="connsiteX13" fmla="*/ 521948 w 2259427"/>
              <a:gd name="connsiteY13" fmla="*/ 135251 h 444152"/>
              <a:gd name="connsiteX14" fmla="*/ 521948 w 2259427"/>
              <a:gd name="connsiteY14" fmla="*/ 240331 h 444152"/>
              <a:gd name="connsiteX15" fmla="*/ 558883 w 2259427"/>
              <a:gd name="connsiteY15" fmla="*/ 245604 h 444152"/>
              <a:gd name="connsiteX16" fmla="*/ 612517 w 2259427"/>
              <a:gd name="connsiteY16" fmla="*/ 188010 h 444152"/>
              <a:gd name="connsiteX17" fmla="*/ 561960 w 2259427"/>
              <a:gd name="connsiteY17" fmla="*/ 124255 h 444152"/>
              <a:gd name="connsiteX18" fmla="*/ 318051 w 2259427"/>
              <a:gd name="connsiteY18" fmla="*/ 124255 h 444152"/>
              <a:gd name="connsiteX19" fmla="*/ 267487 w 2259427"/>
              <a:gd name="connsiteY19" fmla="*/ 188010 h 444152"/>
              <a:gd name="connsiteX20" fmla="*/ 321128 w 2259427"/>
              <a:gd name="connsiteY20" fmla="*/ 245604 h 444152"/>
              <a:gd name="connsiteX21" fmla="*/ 358063 w 2259427"/>
              <a:gd name="connsiteY21" fmla="*/ 240331 h 444152"/>
              <a:gd name="connsiteX22" fmla="*/ 358063 w 2259427"/>
              <a:gd name="connsiteY22" fmla="*/ 132814 h 444152"/>
              <a:gd name="connsiteX23" fmla="*/ 318051 w 2259427"/>
              <a:gd name="connsiteY23" fmla="*/ 124255 h 444152"/>
              <a:gd name="connsiteX24" fmla="*/ 1321088 w 2259427"/>
              <a:gd name="connsiteY24" fmla="*/ 103821 h 444152"/>
              <a:gd name="connsiteX25" fmla="*/ 1236597 w 2259427"/>
              <a:gd name="connsiteY25" fmla="*/ 185495 h 444152"/>
              <a:gd name="connsiteX26" fmla="*/ 1311430 w 2259427"/>
              <a:gd name="connsiteY26" fmla="*/ 270791 h 444152"/>
              <a:gd name="connsiteX27" fmla="*/ 1378218 w 2259427"/>
              <a:gd name="connsiteY27" fmla="*/ 245442 h 444152"/>
              <a:gd name="connsiteX28" fmla="*/ 1378218 w 2259427"/>
              <a:gd name="connsiteY28" fmla="*/ 116296 h 444152"/>
              <a:gd name="connsiteX29" fmla="*/ 1321088 w 2259427"/>
              <a:gd name="connsiteY29" fmla="*/ 103821 h 444152"/>
              <a:gd name="connsiteX30" fmla="*/ 2168103 w 2259427"/>
              <a:gd name="connsiteY30" fmla="*/ 102196 h 444152"/>
              <a:gd name="connsiteX31" fmla="*/ 2096887 w 2259427"/>
              <a:gd name="connsiteY31" fmla="*/ 176223 h 444152"/>
              <a:gd name="connsiteX32" fmla="*/ 2096887 w 2259427"/>
              <a:gd name="connsiteY32" fmla="*/ 240999 h 444152"/>
              <a:gd name="connsiteX33" fmla="*/ 2239713 w 2259427"/>
              <a:gd name="connsiteY33" fmla="*/ 185074 h 444152"/>
              <a:gd name="connsiteX34" fmla="*/ 2168103 w 2259427"/>
              <a:gd name="connsiteY34" fmla="*/ 102196 h 444152"/>
              <a:gd name="connsiteX35" fmla="*/ 1698272 w 2259427"/>
              <a:gd name="connsiteY35" fmla="*/ 101001 h 444152"/>
              <a:gd name="connsiteX36" fmla="*/ 1615793 w 2259427"/>
              <a:gd name="connsiteY36" fmla="*/ 183985 h 444152"/>
              <a:gd name="connsiteX37" fmla="*/ 1780751 w 2259427"/>
              <a:gd name="connsiteY37" fmla="*/ 183985 h 444152"/>
              <a:gd name="connsiteX38" fmla="*/ 1698272 w 2259427"/>
              <a:gd name="connsiteY38" fmla="*/ 101001 h 444152"/>
              <a:gd name="connsiteX39" fmla="*/ 1841552 w 2259427"/>
              <a:gd name="connsiteY39" fmla="*/ 88927 h 444152"/>
              <a:gd name="connsiteX40" fmla="*/ 1860866 w 2259427"/>
              <a:gd name="connsiteY40" fmla="*/ 88927 h 444152"/>
              <a:gd name="connsiteX41" fmla="*/ 1860866 w 2259427"/>
              <a:gd name="connsiteY41" fmla="*/ 206811 h 444152"/>
              <a:gd name="connsiteX42" fmla="*/ 1924031 w 2259427"/>
              <a:gd name="connsiteY42" fmla="*/ 269170 h 444152"/>
              <a:gd name="connsiteX43" fmla="*/ 1985590 w 2259427"/>
              <a:gd name="connsiteY43" fmla="*/ 203588 h 444152"/>
              <a:gd name="connsiteX44" fmla="*/ 1985590 w 2259427"/>
              <a:gd name="connsiteY44" fmla="*/ 88927 h 444152"/>
              <a:gd name="connsiteX45" fmla="*/ 2004905 w 2259427"/>
              <a:gd name="connsiteY45" fmla="*/ 88927 h 444152"/>
              <a:gd name="connsiteX46" fmla="*/ 2004905 w 2259427"/>
              <a:gd name="connsiteY46" fmla="*/ 233365 h 444152"/>
              <a:gd name="connsiteX47" fmla="*/ 2029441 w 2259427"/>
              <a:gd name="connsiteY47" fmla="*/ 267565 h 444152"/>
              <a:gd name="connsiteX48" fmla="*/ 2029847 w 2259427"/>
              <a:gd name="connsiteY48" fmla="*/ 283656 h 444152"/>
              <a:gd name="connsiteX49" fmla="*/ 1987602 w 2259427"/>
              <a:gd name="connsiteY49" fmla="*/ 252273 h 444152"/>
              <a:gd name="connsiteX50" fmla="*/ 1919608 w 2259427"/>
              <a:gd name="connsiteY50" fmla="*/ 287279 h 444152"/>
              <a:gd name="connsiteX51" fmla="*/ 1841552 w 2259427"/>
              <a:gd name="connsiteY51" fmla="*/ 206811 h 444152"/>
              <a:gd name="connsiteX52" fmla="*/ 1322293 w 2259427"/>
              <a:gd name="connsiteY52" fmla="*/ 84913 h 444152"/>
              <a:gd name="connsiteX53" fmla="*/ 1397126 w 2259427"/>
              <a:gd name="connsiteY53" fmla="*/ 103422 h 444152"/>
              <a:gd name="connsiteX54" fmla="*/ 1397126 w 2259427"/>
              <a:gd name="connsiteY54" fmla="*/ 300162 h 444152"/>
              <a:gd name="connsiteX55" fmla="*/ 1309819 w 2259427"/>
              <a:gd name="connsiteY55" fmla="*/ 389881 h 444152"/>
              <a:gd name="connsiteX56" fmla="*/ 1230563 w 2259427"/>
              <a:gd name="connsiteY56" fmla="*/ 368155 h 444152"/>
              <a:gd name="connsiteX57" fmla="*/ 1235392 w 2259427"/>
              <a:gd name="connsiteY57" fmla="*/ 350453 h 444152"/>
              <a:gd name="connsiteX58" fmla="*/ 1309819 w 2259427"/>
              <a:gd name="connsiteY58" fmla="*/ 371778 h 444152"/>
              <a:gd name="connsiteX59" fmla="*/ 1378218 w 2259427"/>
              <a:gd name="connsiteY59" fmla="*/ 300162 h 444152"/>
              <a:gd name="connsiteX60" fmla="*/ 1378218 w 2259427"/>
              <a:gd name="connsiteY60" fmla="*/ 265962 h 444152"/>
              <a:gd name="connsiteX61" fmla="*/ 1310225 w 2259427"/>
              <a:gd name="connsiteY61" fmla="*/ 288087 h 444152"/>
              <a:gd name="connsiteX62" fmla="*/ 1217283 w 2259427"/>
              <a:gd name="connsiteY62" fmla="*/ 185495 h 444152"/>
              <a:gd name="connsiteX63" fmla="*/ 1322293 w 2259427"/>
              <a:gd name="connsiteY63" fmla="*/ 84913 h 444152"/>
              <a:gd name="connsiteX64" fmla="*/ 1537958 w 2259427"/>
              <a:gd name="connsiteY64" fmla="*/ 84905 h 444152"/>
              <a:gd name="connsiteX65" fmla="*/ 1587443 w 2259427"/>
              <a:gd name="connsiteY65" fmla="*/ 100196 h 444152"/>
              <a:gd name="connsiteX66" fmla="*/ 1580603 w 2259427"/>
              <a:gd name="connsiteY66" fmla="*/ 117093 h 444152"/>
              <a:gd name="connsiteX67" fmla="*/ 1536347 w 2259427"/>
              <a:gd name="connsiteY67" fmla="*/ 103813 h 444152"/>
              <a:gd name="connsiteX68" fmla="*/ 1479622 w 2259427"/>
              <a:gd name="connsiteY68" fmla="*/ 157327 h 444152"/>
              <a:gd name="connsiteX69" fmla="*/ 1479622 w 2259427"/>
              <a:gd name="connsiteY69" fmla="*/ 282851 h 444152"/>
              <a:gd name="connsiteX70" fmla="*/ 1460308 w 2259427"/>
              <a:gd name="connsiteY70" fmla="*/ 282851 h 444152"/>
              <a:gd name="connsiteX71" fmla="*/ 1460308 w 2259427"/>
              <a:gd name="connsiteY71" fmla="*/ 133584 h 444152"/>
              <a:gd name="connsiteX72" fmla="*/ 1435366 w 2259427"/>
              <a:gd name="connsiteY72" fmla="*/ 105824 h 444152"/>
              <a:gd name="connsiteX73" fmla="*/ 1434560 w 2259427"/>
              <a:gd name="connsiteY73" fmla="*/ 89334 h 444152"/>
              <a:gd name="connsiteX74" fmla="*/ 1478816 w 2259427"/>
              <a:gd name="connsiteY74" fmla="*/ 114676 h 444152"/>
              <a:gd name="connsiteX75" fmla="*/ 1537958 w 2259427"/>
              <a:gd name="connsiteY75" fmla="*/ 84905 h 444152"/>
              <a:gd name="connsiteX76" fmla="*/ 2171320 w 2259427"/>
              <a:gd name="connsiteY76" fmla="*/ 84093 h 444152"/>
              <a:gd name="connsiteX77" fmla="*/ 2259427 w 2259427"/>
              <a:gd name="connsiteY77" fmla="*/ 185074 h 444152"/>
              <a:gd name="connsiteX78" fmla="*/ 2096887 w 2259427"/>
              <a:gd name="connsiteY78" fmla="*/ 261113 h 444152"/>
              <a:gd name="connsiteX79" fmla="*/ 2096887 w 2259427"/>
              <a:gd name="connsiteY79" fmla="*/ 383020 h 444152"/>
              <a:gd name="connsiteX80" fmla="*/ 2077978 w 2259427"/>
              <a:gd name="connsiteY80" fmla="*/ 383020 h 444152"/>
              <a:gd name="connsiteX81" fmla="*/ 2077978 w 2259427"/>
              <a:gd name="connsiteY81" fmla="*/ 148057 h 444152"/>
              <a:gd name="connsiteX82" fmla="*/ 2053036 w 2259427"/>
              <a:gd name="connsiteY82" fmla="*/ 103001 h 444152"/>
              <a:gd name="connsiteX83" fmla="*/ 2052230 w 2259427"/>
              <a:gd name="connsiteY83" fmla="*/ 86904 h 444152"/>
              <a:gd name="connsiteX84" fmla="*/ 2094475 w 2259427"/>
              <a:gd name="connsiteY84" fmla="*/ 122309 h 444152"/>
              <a:gd name="connsiteX85" fmla="*/ 2094475 w 2259427"/>
              <a:gd name="connsiteY85" fmla="*/ 127944 h 444152"/>
              <a:gd name="connsiteX86" fmla="*/ 2171320 w 2259427"/>
              <a:gd name="connsiteY86" fmla="*/ 84093 h 444152"/>
              <a:gd name="connsiteX87" fmla="*/ 1698269 w 2259427"/>
              <a:gd name="connsiteY87" fmla="*/ 83503 h 444152"/>
              <a:gd name="connsiteX88" fmla="*/ 1800059 w 2259427"/>
              <a:gd name="connsiteY88" fmla="*/ 183985 h 444152"/>
              <a:gd name="connsiteX89" fmla="*/ 1596479 w 2259427"/>
              <a:gd name="connsiteY89" fmla="*/ 183985 h 444152"/>
              <a:gd name="connsiteX90" fmla="*/ 1698269 w 2259427"/>
              <a:gd name="connsiteY90" fmla="*/ 83503 h 444152"/>
              <a:gd name="connsiteX91" fmla="*/ 6592 w 2259427"/>
              <a:gd name="connsiteY91" fmla="*/ 78970 h 444152"/>
              <a:gd name="connsiteX92" fmla="*/ 181138 w 2259427"/>
              <a:gd name="connsiteY92" fmla="*/ 78970 h 444152"/>
              <a:gd name="connsiteX93" fmla="*/ 181138 w 2259427"/>
              <a:gd name="connsiteY93" fmla="*/ 86007 h 444152"/>
              <a:gd name="connsiteX94" fmla="*/ 88811 w 2259427"/>
              <a:gd name="connsiteY94" fmla="*/ 237698 h 444152"/>
              <a:gd name="connsiteX95" fmla="*/ 181138 w 2259427"/>
              <a:gd name="connsiteY95" fmla="*/ 237698 h 444152"/>
              <a:gd name="connsiteX96" fmla="*/ 181138 w 2259427"/>
              <a:gd name="connsiteY96" fmla="*/ 290894 h 444152"/>
              <a:gd name="connsiteX97" fmla="*/ 0 w 2259427"/>
              <a:gd name="connsiteY97" fmla="*/ 290894 h 444152"/>
              <a:gd name="connsiteX98" fmla="*/ 0 w 2259427"/>
              <a:gd name="connsiteY98" fmla="*/ 283858 h 444152"/>
              <a:gd name="connsiteX99" fmla="*/ 93646 w 2259427"/>
              <a:gd name="connsiteY99" fmla="*/ 129978 h 444152"/>
              <a:gd name="connsiteX100" fmla="*/ 6592 w 2259427"/>
              <a:gd name="connsiteY100" fmla="*/ 129978 h 444152"/>
              <a:gd name="connsiteX101" fmla="*/ 1032311 w 2259427"/>
              <a:gd name="connsiteY101" fmla="*/ 74573 h 444152"/>
              <a:gd name="connsiteX102" fmla="*/ 1142663 w 2259427"/>
              <a:gd name="connsiteY102" fmla="*/ 98818 h 444152"/>
              <a:gd name="connsiteX103" fmla="*/ 1142663 w 2259427"/>
              <a:gd name="connsiteY103" fmla="*/ 278947 h 444152"/>
              <a:gd name="connsiteX104" fmla="*/ 1052970 w 2259427"/>
              <a:gd name="connsiteY104" fmla="*/ 295292 h 444152"/>
              <a:gd name="connsiteX105" fmla="*/ 930746 w 2259427"/>
              <a:gd name="connsiteY105" fmla="*/ 188010 h 444152"/>
              <a:gd name="connsiteX106" fmla="*/ 1032311 w 2259427"/>
              <a:gd name="connsiteY106" fmla="*/ 74573 h 444152"/>
              <a:gd name="connsiteX107" fmla="*/ 307499 w 2259427"/>
              <a:gd name="connsiteY107" fmla="*/ 74573 h 444152"/>
              <a:gd name="connsiteX108" fmla="*/ 417852 w 2259427"/>
              <a:gd name="connsiteY108" fmla="*/ 98818 h 444152"/>
              <a:gd name="connsiteX109" fmla="*/ 417852 w 2259427"/>
              <a:gd name="connsiteY109" fmla="*/ 278947 h 444152"/>
              <a:gd name="connsiteX110" fmla="*/ 328165 w 2259427"/>
              <a:gd name="connsiteY110" fmla="*/ 295292 h 444152"/>
              <a:gd name="connsiteX111" fmla="*/ 205934 w 2259427"/>
              <a:gd name="connsiteY111" fmla="*/ 188010 h 444152"/>
              <a:gd name="connsiteX112" fmla="*/ 307499 w 2259427"/>
              <a:gd name="connsiteY112" fmla="*/ 74573 h 444152"/>
              <a:gd name="connsiteX113" fmla="*/ 462153 w 2259427"/>
              <a:gd name="connsiteY113" fmla="*/ 7595 h 444152"/>
              <a:gd name="connsiteX114" fmla="*/ 523268 w 2259427"/>
              <a:gd name="connsiteY114" fmla="*/ 7595 h 444152"/>
              <a:gd name="connsiteX115" fmla="*/ 523268 w 2259427"/>
              <a:gd name="connsiteY115" fmla="*/ 84694 h 444152"/>
              <a:gd name="connsiteX116" fmla="*/ 572506 w 2259427"/>
              <a:gd name="connsiteY116" fmla="*/ 74573 h 444152"/>
              <a:gd name="connsiteX117" fmla="*/ 674070 w 2259427"/>
              <a:gd name="connsiteY117" fmla="*/ 188010 h 444152"/>
              <a:gd name="connsiteX118" fmla="*/ 551846 w 2259427"/>
              <a:gd name="connsiteY118" fmla="*/ 295292 h 444152"/>
              <a:gd name="connsiteX119" fmla="*/ 462153 w 2259427"/>
              <a:gd name="connsiteY119" fmla="*/ 278585 h 444152"/>
              <a:gd name="connsiteX120" fmla="*/ 709926 w 2259427"/>
              <a:gd name="connsiteY120" fmla="*/ 7151 h 444152"/>
              <a:gd name="connsiteX121" fmla="*/ 771041 w 2259427"/>
              <a:gd name="connsiteY121" fmla="*/ 7151 h 444152"/>
              <a:gd name="connsiteX122" fmla="*/ 771041 w 2259427"/>
              <a:gd name="connsiteY122" fmla="*/ 156799 h 444152"/>
              <a:gd name="connsiteX123" fmla="*/ 785990 w 2259427"/>
              <a:gd name="connsiteY123" fmla="*/ 156799 h 444152"/>
              <a:gd name="connsiteX124" fmla="*/ 847099 w 2259427"/>
              <a:gd name="connsiteY124" fmla="*/ 78970 h 444152"/>
              <a:gd name="connsiteX125" fmla="*/ 905144 w 2259427"/>
              <a:gd name="connsiteY125" fmla="*/ 78970 h 444152"/>
              <a:gd name="connsiteX126" fmla="*/ 854574 w 2259427"/>
              <a:gd name="connsiteY126" fmla="*/ 183181 h 444152"/>
              <a:gd name="connsiteX127" fmla="*/ 915251 w 2259427"/>
              <a:gd name="connsiteY127" fmla="*/ 284296 h 444152"/>
              <a:gd name="connsiteX128" fmla="*/ 915251 w 2259427"/>
              <a:gd name="connsiteY128" fmla="*/ 290450 h 444152"/>
              <a:gd name="connsiteX129" fmla="*/ 853260 w 2259427"/>
              <a:gd name="connsiteY129" fmla="*/ 290450 h 444152"/>
              <a:gd name="connsiteX130" fmla="*/ 802697 w 2259427"/>
              <a:gd name="connsiteY130" fmla="*/ 202521 h 444152"/>
              <a:gd name="connsiteX131" fmla="*/ 785108 w 2259427"/>
              <a:gd name="connsiteY131" fmla="*/ 205160 h 444152"/>
              <a:gd name="connsiteX132" fmla="*/ 771041 w 2259427"/>
              <a:gd name="connsiteY132" fmla="*/ 205160 h 444152"/>
              <a:gd name="connsiteX133" fmla="*/ 771041 w 2259427"/>
              <a:gd name="connsiteY133" fmla="*/ 290450 h 444152"/>
              <a:gd name="connsiteX134" fmla="*/ 709926 w 2259427"/>
              <a:gd name="connsiteY134" fmla="*/ 290450 h 444152"/>
              <a:gd name="connsiteX135" fmla="*/ 95842 w 2259427"/>
              <a:gd name="connsiteY135" fmla="*/ 0 h 444152"/>
              <a:gd name="connsiteX136" fmla="*/ 129153 w 2259427"/>
              <a:gd name="connsiteY136" fmla="*/ 30805 h 444152"/>
              <a:gd name="connsiteX137" fmla="*/ 95842 w 2259427"/>
              <a:gd name="connsiteY137" fmla="*/ 60786 h 444152"/>
              <a:gd name="connsiteX138" fmla="*/ 63374 w 2259427"/>
              <a:gd name="connsiteY138" fmla="*/ 30805 h 444152"/>
              <a:gd name="connsiteX139" fmla="*/ 95842 w 2259427"/>
              <a:gd name="connsiteY139" fmla="*/ 0 h 444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2259427" h="444152">
                <a:moveTo>
                  <a:pt x="204906" y="315259"/>
                </a:moveTo>
                <a:cubicBezTo>
                  <a:pt x="273084" y="357505"/>
                  <a:pt x="355379" y="382238"/>
                  <a:pt x="443917" y="382238"/>
                </a:cubicBezTo>
                <a:cubicBezTo>
                  <a:pt x="532449" y="382238"/>
                  <a:pt x="614725" y="357511"/>
                  <a:pt x="682903" y="315285"/>
                </a:cubicBezTo>
                <a:lnTo>
                  <a:pt x="692598" y="361388"/>
                </a:lnTo>
                <a:cubicBezTo>
                  <a:pt x="623196" y="413347"/>
                  <a:pt x="537088" y="444152"/>
                  <a:pt x="443917" y="444152"/>
                </a:cubicBezTo>
                <a:cubicBezTo>
                  <a:pt x="350734" y="444152"/>
                  <a:pt x="264613" y="413335"/>
                  <a:pt x="195211" y="361362"/>
                </a:cubicBezTo>
                <a:close/>
                <a:moveTo>
                  <a:pt x="1042863" y="124255"/>
                </a:moveTo>
                <a:cubicBezTo>
                  <a:pt x="1014284" y="125581"/>
                  <a:pt x="992299" y="140524"/>
                  <a:pt x="992299" y="188010"/>
                </a:cubicBezTo>
                <a:cubicBezTo>
                  <a:pt x="992299" y="231099"/>
                  <a:pt x="1014722" y="245166"/>
                  <a:pt x="1045940" y="245604"/>
                </a:cubicBezTo>
                <a:cubicBezTo>
                  <a:pt x="1057367" y="246041"/>
                  <a:pt x="1069677" y="243852"/>
                  <a:pt x="1082868" y="240331"/>
                </a:cubicBezTo>
                <a:lnTo>
                  <a:pt x="1082868" y="132814"/>
                </a:lnTo>
                <a:cubicBezTo>
                  <a:pt x="1068446" y="126349"/>
                  <a:pt x="1055166" y="123817"/>
                  <a:pt x="1042863" y="124255"/>
                </a:cubicBezTo>
                <a:close/>
                <a:moveTo>
                  <a:pt x="561960" y="124255"/>
                </a:moveTo>
                <a:cubicBezTo>
                  <a:pt x="549651" y="123817"/>
                  <a:pt x="536015" y="127332"/>
                  <a:pt x="521948" y="135251"/>
                </a:cubicBezTo>
                <a:lnTo>
                  <a:pt x="521948" y="240331"/>
                </a:lnTo>
                <a:cubicBezTo>
                  <a:pt x="535133" y="243852"/>
                  <a:pt x="547449" y="246041"/>
                  <a:pt x="558883" y="245604"/>
                </a:cubicBezTo>
                <a:cubicBezTo>
                  <a:pt x="590094" y="245166"/>
                  <a:pt x="612517" y="231099"/>
                  <a:pt x="612517" y="188010"/>
                </a:cubicBezTo>
                <a:cubicBezTo>
                  <a:pt x="612517" y="140524"/>
                  <a:pt x="590538" y="125581"/>
                  <a:pt x="561960" y="124255"/>
                </a:cubicBezTo>
                <a:close/>
                <a:moveTo>
                  <a:pt x="318051" y="124255"/>
                </a:moveTo>
                <a:cubicBezTo>
                  <a:pt x="289473" y="125581"/>
                  <a:pt x="267487" y="140524"/>
                  <a:pt x="267487" y="188010"/>
                </a:cubicBezTo>
                <a:cubicBezTo>
                  <a:pt x="267487" y="231099"/>
                  <a:pt x="289911" y="245166"/>
                  <a:pt x="321128" y="245604"/>
                </a:cubicBezTo>
                <a:cubicBezTo>
                  <a:pt x="332556" y="246041"/>
                  <a:pt x="344865" y="243852"/>
                  <a:pt x="358063" y="240331"/>
                </a:cubicBezTo>
                <a:lnTo>
                  <a:pt x="358063" y="132814"/>
                </a:lnTo>
                <a:cubicBezTo>
                  <a:pt x="343634" y="126349"/>
                  <a:pt x="330360" y="123817"/>
                  <a:pt x="318051" y="124255"/>
                </a:cubicBezTo>
                <a:close/>
                <a:moveTo>
                  <a:pt x="1321088" y="103821"/>
                </a:moveTo>
                <a:cubicBezTo>
                  <a:pt x="1270797" y="103821"/>
                  <a:pt x="1236597" y="130375"/>
                  <a:pt x="1236597" y="185495"/>
                </a:cubicBezTo>
                <a:cubicBezTo>
                  <a:pt x="1236597" y="244637"/>
                  <a:pt x="1271197" y="270791"/>
                  <a:pt x="1311430" y="270791"/>
                </a:cubicBezTo>
                <a:cubicBezTo>
                  <a:pt x="1333555" y="270791"/>
                  <a:pt x="1356893" y="262745"/>
                  <a:pt x="1378218" y="245442"/>
                </a:cubicBezTo>
                <a:lnTo>
                  <a:pt x="1378218" y="116296"/>
                </a:lnTo>
                <a:cubicBezTo>
                  <a:pt x="1358504" y="107844"/>
                  <a:pt x="1339590" y="103821"/>
                  <a:pt x="1321088" y="103821"/>
                </a:cubicBezTo>
                <a:close/>
                <a:moveTo>
                  <a:pt x="2168103" y="102196"/>
                </a:moveTo>
                <a:cubicBezTo>
                  <a:pt x="2125458" y="102196"/>
                  <a:pt x="2098098" y="135589"/>
                  <a:pt x="2096887" y="176223"/>
                </a:cubicBezTo>
                <a:lnTo>
                  <a:pt x="2096887" y="240999"/>
                </a:lnTo>
                <a:cubicBezTo>
                  <a:pt x="2156029" y="290484"/>
                  <a:pt x="2239713" y="267953"/>
                  <a:pt x="2239713" y="185074"/>
                </a:cubicBezTo>
                <a:cubicBezTo>
                  <a:pt x="2239713" y="141624"/>
                  <a:pt x="2215577" y="102196"/>
                  <a:pt x="2168103" y="102196"/>
                </a:cubicBezTo>
                <a:close/>
                <a:moveTo>
                  <a:pt x="1698272" y="101001"/>
                </a:moveTo>
                <a:cubicBezTo>
                  <a:pt x="1657033" y="101001"/>
                  <a:pt x="1615793" y="128662"/>
                  <a:pt x="1615793" y="183985"/>
                </a:cubicBezTo>
                <a:cubicBezTo>
                  <a:pt x="1615793" y="293824"/>
                  <a:pt x="1780751" y="294623"/>
                  <a:pt x="1780751" y="183985"/>
                </a:cubicBezTo>
                <a:cubicBezTo>
                  <a:pt x="1780751" y="128662"/>
                  <a:pt x="1739511" y="101001"/>
                  <a:pt x="1698272" y="101001"/>
                </a:cubicBezTo>
                <a:close/>
                <a:moveTo>
                  <a:pt x="1841552" y="88927"/>
                </a:moveTo>
                <a:lnTo>
                  <a:pt x="1860866" y="88927"/>
                </a:lnTo>
                <a:lnTo>
                  <a:pt x="1860866" y="206811"/>
                </a:lnTo>
                <a:cubicBezTo>
                  <a:pt x="1860866" y="245433"/>
                  <a:pt x="1886614" y="269170"/>
                  <a:pt x="1924031" y="269170"/>
                </a:cubicBezTo>
                <a:cubicBezTo>
                  <a:pt x="1962659" y="269576"/>
                  <a:pt x="1985590" y="243822"/>
                  <a:pt x="1985590" y="203588"/>
                </a:cubicBezTo>
                <a:lnTo>
                  <a:pt x="1985590" y="88927"/>
                </a:lnTo>
                <a:lnTo>
                  <a:pt x="2004905" y="88927"/>
                </a:lnTo>
                <a:lnTo>
                  <a:pt x="2004905" y="233365"/>
                </a:lnTo>
                <a:cubicBezTo>
                  <a:pt x="2004905" y="264342"/>
                  <a:pt x="2008122" y="270782"/>
                  <a:pt x="2029441" y="267565"/>
                </a:cubicBezTo>
                <a:lnTo>
                  <a:pt x="2029847" y="283656"/>
                </a:lnTo>
                <a:cubicBezTo>
                  <a:pt x="2000476" y="288078"/>
                  <a:pt x="1987602" y="283250"/>
                  <a:pt x="1987602" y="252273"/>
                </a:cubicBezTo>
                <a:cubicBezTo>
                  <a:pt x="1969493" y="279227"/>
                  <a:pt x="1950185" y="287279"/>
                  <a:pt x="1919608" y="287279"/>
                </a:cubicBezTo>
                <a:cubicBezTo>
                  <a:pt x="1870523" y="287279"/>
                  <a:pt x="1841552" y="253479"/>
                  <a:pt x="1841552" y="206811"/>
                </a:cubicBezTo>
                <a:close/>
                <a:moveTo>
                  <a:pt x="1322293" y="84913"/>
                </a:moveTo>
                <a:cubicBezTo>
                  <a:pt x="1349253" y="85313"/>
                  <a:pt x="1373390" y="92559"/>
                  <a:pt x="1397126" y="103422"/>
                </a:cubicBezTo>
                <a:lnTo>
                  <a:pt x="1397126" y="300162"/>
                </a:lnTo>
                <a:cubicBezTo>
                  <a:pt x="1397126" y="362927"/>
                  <a:pt x="1356893" y="389475"/>
                  <a:pt x="1309819" y="389881"/>
                </a:cubicBezTo>
                <a:cubicBezTo>
                  <a:pt x="1283671" y="390280"/>
                  <a:pt x="1255505" y="382641"/>
                  <a:pt x="1230563" y="368155"/>
                </a:cubicBezTo>
                <a:lnTo>
                  <a:pt x="1235392" y="350453"/>
                </a:lnTo>
                <a:cubicBezTo>
                  <a:pt x="1258322" y="363726"/>
                  <a:pt x="1285283" y="371778"/>
                  <a:pt x="1309819" y="371778"/>
                </a:cubicBezTo>
                <a:cubicBezTo>
                  <a:pt x="1347235" y="371778"/>
                  <a:pt x="1378218" y="352064"/>
                  <a:pt x="1378218" y="300162"/>
                </a:cubicBezTo>
                <a:lnTo>
                  <a:pt x="1378218" y="265962"/>
                </a:lnTo>
                <a:cubicBezTo>
                  <a:pt x="1355687" y="280848"/>
                  <a:pt x="1332756" y="287688"/>
                  <a:pt x="1310225" y="288087"/>
                </a:cubicBezTo>
                <a:cubicBezTo>
                  <a:pt x="1259934" y="289299"/>
                  <a:pt x="1217283" y="255100"/>
                  <a:pt x="1217283" y="185495"/>
                </a:cubicBezTo>
                <a:cubicBezTo>
                  <a:pt x="1217283" y="118707"/>
                  <a:pt x="1261539" y="84913"/>
                  <a:pt x="1322293" y="84913"/>
                </a:cubicBezTo>
                <a:close/>
                <a:moveTo>
                  <a:pt x="1537958" y="84905"/>
                </a:moveTo>
                <a:cubicBezTo>
                  <a:pt x="1556866" y="85311"/>
                  <a:pt x="1574569" y="90939"/>
                  <a:pt x="1587443" y="100196"/>
                </a:cubicBezTo>
                <a:lnTo>
                  <a:pt x="1580603" y="117093"/>
                </a:lnTo>
                <a:cubicBezTo>
                  <a:pt x="1568135" y="107836"/>
                  <a:pt x="1552038" y="103813"/>
                  <a:pt x="1536347" y="103813"/>
                </a:cubicBezTo>
                <a:cubicBezTo>
                  <a:pt x="1507382" y="103813"/>
                  <a:pt x="1479622" y="124333"/>
                  <a:pt x="1479622" y="157327"/>
                </a:cubicBezTo>
                <a:lnTo>
                  <a:pt x="1479622" y="282851"/>
                </a:lnTo>
                <a:lnTo>
                  <a:pt x="1460308" y="282851"/>
                </a:lnTo>
                <a:lnTo>
                  <a:pt x="1460308" y="133584"/>
                </a:lnTo>
                <a:cubicBezTo>
                  <a:pt x="1460308" y="114676"/>
                  <a:pt x="1459908" y="102607"/>
                  <a:pt x="1435366" y="105824"/>
                </a:cubicBezTo>
                <a:lnTo>
                  <a:pt x="1434560" y="89334"/>
                </a:lnTo>
                <a:cubicBezTo>
                  <a:pt x="1465536" y="84099"/>
                  <a:pt x="1478816" y="92145"/>
                  <a:pt x="1478816" y="114676"/>
                </a:cubicBezTo>
                <a:cubicBezTo>
                  <a:pt x="1491690" y="91745"/>
                  <a:pt x="1515427" y="83699"/>
                  <a:pt x="1537958" y="84905"/>
                </a:cubicBezTo>
                <a:close/>
                <a:moveTo>
                  <a:pt x="2171320" y="84093"/>
                </a:moveTo>
                <a:cubicBezTo>
                  <a:pt x="2228051" y="84093"/>
                  <a:pt x="2259427" y="131567"/>
                  <a:pt x="2259427" y="185074"/>
                </a:cubicBezTo>
                <a:cubicBezTo>
                  <a:pt x="2259427" y="277211"/>
                  <a:pt x="2167297" y="313422"/>
                  <a:pt x="2096887" y="261113"/>
                </a:cubicBezTo>
                <a:lnTo>
                  <a:pt x="2096887" y="383020"/>
                </a:lnTo>
                <a:lnTo>
                  <a:pt x="2077978" y="383020"/>
                </a:lnTo>
                <a:lnTo>
                  <a:pt x="2077978" y="148057"/>
                </a:lnTo>
                <a:cubicBezTo>
                  <a:pt x="2077978" y="118693"/>
                  <a:pt x="2080396" y="98573"/>
                  <a:pt x="2053036" y="103001"/>
                </a:cubicBezTo>
                <a:lnTo>
                  <a:pt x="2052230" y="86904"/>
                </a:lnTo>
                <a:cubicBezTo>
                  <a:pt x="2084419" y="81676"/>
                  <a:pt x="2094475" y="95356"/>
                  <a:pt x="2094475" y="122309"/>
                </a:cubicBezTo>
                <a:lnTo>
                  <a:pt x="2094475" y="127944"/>
                </a:lnTo>
                <a:cubicBezTo>
                  <a:pt x="2110167" y="95755"/>
                  <a:pt x="2137526" y="84093"/>
                  <a:pt x="2171320" y="84093"/>
                </a:cubicBezTo>
                <a:close/>
                <a:moveTo>
                  <a:pt x="1698269" y="83503"/>
                </a:moveTo>
                <a:cubicBezTo>
                  <a:pt x="1749164" y="83503"/>
                  <a:pt x="1800059" y="116997"/>
                  <a:pt x="1800059" y="183985"/>
                </a:cubicBezTo>
                <a:cubicBezTo>
                  <a:pt x="1800059" y="317560"/>
                  <a:pt x="1596479" y="317560"/>
                  <a:pt x="1596479" y="183985"/>
                </a:cubicBezTo>
                <a:cubicBezTo>
                  <a:pt x="1596479" y="116997"/>
                  <a:pt x="1647374" y="83503"/>
                  <a:pt x="1698269" y="83503"/>
                </a:cubicBezTo>
                <a:close/>
                <a:moveTo>
                  <a:pt x="6592" y="78970"/>
                </a:moveTo>
                <a:lnTo>
                  <a:pt x="181138" y="78970"/>
                </a:lnTo>
                <a:lnTo>
                  <a:pt x="181138" y="86007"/>
                </a:lnTo>
                <a:lnTo>
                  <a:pt x="88811" y="237698"/>
                </a:lnTo>
                <a:lnTo>
                  <a:pt x="181138" y="237698"/>
                </a:lnTo>
                <a:lnTo>
                  <a:pt x="181138" y="290894"/>
                </a:lnTo>
                <a:lnTo>
                  <a:pt x="0" y="290894"/>
                </a:lnTo>
                <a:lnTo>
                  <a:pt x="0" y="283858"/>
                </a:lnTo>
                <a:lnTo>
                  <a:pt x="93646" y="129978"/>
                </a:lnTo>
                <a:lnTo>
                  <a:pt x="6592" y="129978"/>
                </a:lnTo>
                <a:close/>
                <a:moveTo>
                  <a:pt x="1032311" y="74573"/>
                </a:moveTo>
                <a:cubicBezTo>
                  <a:pt x="1092779" y="74573"/>
                  <a:pt x="1142663" y="98818"/>
                  <a:pt x="1142663" y="98818"/>
                </a:cubicBezTo>
                <a:lnTo>
                  <a:pt x="1142663" y="278947"/>
                </a:lnTo>
                <a:cubicBezTo>
                  <a:pt x="1116693" y="282811"/>
                  <a:pt x="1093743" y="294879"/>
                  <a:pt x="1052970" y="295292"/>
                </a:cubicBezTo>
                <a:cubicBezTo>
                  <a:pt x="988346" y="295945"/>
                  <a:pt x="930746" y="270673"/>
                  <a:pt x="930746" y="188010"/>
                </a:cubicBezTo>
                <a:cubicBezTo>
                  <a:pt x="930746" y="114591"/>
                  <a:pt x="973391" y="74573"/>
                  <a:pt x="1032311" y="74573"/>
                </a:cubicBezTo>
                <a:close/>
                <a:moveTo>
                  <a:pt x="307499" y="74573"/>
                </a:moveTo>
                <a:cubicBezTo>
                  <a:pt x="367967" y="74573"/>
                  <a:pt x="417852" y="98818"/>
                  <a:pt x="417852" y="98818"/>
                </a:cubicBezTo>
                <a:lnTo>
                  <a:pt x="417852" y="278947"/>
                </a:lnTo>
                <a:cubicBezTo>
                  <a:pt x="391882" y="282811"/>
                  <a:pt x="368932" y="294879"/>
                  <a:pt x="328165" y="295292"/>
                </a:cubicBezTo>
                <a:cubicBezTo>
                  <a:pt x="263534" y="295945"/>
                  <a:pt x="205934" y="270673"/>
                  <a:pt x="205934" y="188010"/>
                </a:cubicBezTo>
                <a:cubicBezTo>
                  <a:pt x="205934" y="114591"/>
                  <a:pt x="248579" y="74573"/>
                  <a:pt x="307499" y="74573"/>
                </a:cubicBezTo>
                <a:close/>
                <a:moveTo>
                  <a:pt x="462153" y="7595"/>
                </a:moveTo>
                <a:lnTo>
                  <a:pt x="523268" y="7595"/>
                </a:lnTo>
                <a:lnTo>
                  <a:pt x="523268" y="84694"/>
                </a:lnTo>
                <a:cubicBezTo>
                  <a:pt x="540412" y="77651"/>
                  <a:pt x="557119" y="74573"/>
                  <a:pt x="572506" y="74573"/>
                </a:cubicBezTo>
                <a:cubicBezTo>
                  <a:pt x="631425" y="74135"/>
                  <a:pt x="674070" y="114591"/>
                  <a:pt x="674070" y="188010"/>
                </a:cubicBezTo>
                <a:cubicBezTo>
                  <a:pt x="674070" y="270673"/>
                  <a:pt x="616470" y="294613"/>
                  <a:pt x="551846" y="295292"/>
                </a:cubicBezTo>
                <a:cubicBezTo>
                  <a:pt x="515521" y="295672"/>
                  <a:pt x="492228" y="283249"/>
                  <a:pt x="462153" y="278585"/>
                </a:cubicBezTo>
                <a:close/>
                <a:moveTo>
                  <a:pt x="709926" y="7151"/>
                </a:moveTo>
                <a:lnTo>
                  <a:pt x="771041" y="7151"/>
                </a:lnTo>
                <a:lnTo>
                  <a:pt x="771041" y="156799"/>
                </a:lnTo>
                <a:lnTo>
                  <a:pt x="785990" y="156799"/>
                </a:lnTo>
                <a:cubicBezTo>
                  <a:pt x="834796" y="156799"/>
                  <a:pt x="847099" y="122497"/>
                  <a:pt x="847099" y="78970"/>
                </a:cubicBezTo>
                <a:lnTo>
                  <a:pt x="905144" y="78970"/>
                </a:lnTo>
                <a:cubicBezTo>
                  <a:pt x="906457" y="123817"/>
                  <a:pt x="896343" y="161189"/>
                  <a:pt x="854574" y="183181"/>
                </a:cubicBezTo>
                <a:lnTo>
                  <a:pt x="915251" y="284296"/>
                </a:lnTo>
                <a:lnTo>
                  <a:pt x="915251" y="290450"/>
                </a:lnTo>
                <a:lnTo>
                  <a:pt x="853260" y="290450"/>
                </a:lnTo>
                <a:lnTo>
                  <a:pt x="802697" y="202521"/>
                </a:lnTo>
                <a:cubicBezTo>
                  <a:pt x="797424" y="204278"/>
                  <a:pt x="791707" y="205160"/>
                  <a:pt x="785108" y="205160"/>
                </a:cubicBezTo>
                <a:lnTo>
                  <a:pt x="771041" y="205160"/>
                </a:lnTo>
                <a:lnTo>
                  <a:pt x="771041" y="290450"/>
                </a:lnTo>
                <a:lnTo>
                  <a:pt x="709926" y="290450"/>
                </a:lnTo>
                <a:close/>
                <a:moveTo>
                  <a:pt x="95842" y="0"/>
                </a:moveTo>
                <a:cubicBezTo>
                  <a:pt x="114578" y="0"/>
                  <a:pt x="129153" y="12075"/>
                  <a:pt x="129153" y="30805"/>
                </a:cubicBezTo>
                <a:cubicBezTo>
                  <a:pt x="129153" y="49130"/>
                  <a:pt x="114578" y="60786"/>
                  <a:pt x="95842" y="60786"/>
                </a:cubicBezTo>
                <a:cubicBezTo>
                  <a:pt x="77942" y="60786"/>
                  <a:pt x="63374" y="49130"/>
                  <a:pt x="63374" y="30805"/>
                </a:cubicBezTo>
                <a:cubicBezTo>
                  <a:pt x="63374" y="12075"/>
                  <a:pt x="77942" y="0"/>
                  <a:pt x="9584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180000" indent="0">
              <a:buNone/>
              <a:defRPr sz="100">
                <a:noFill/>
              </a:defRPr>
            </a:lvl2pPr>
            <a:lvl3pPr marL="360000" indent="0">
              <a:buNone/>
              <a:defRPr sz="100">
                <a:noFill/>
              </a:defRPr>
            </a:lvl3pPr>
            <a:lvl4pPr marL="540000" indent="0">
              <a:buNone/>
              <a:defRPr sz="100">
                <a:noFill/>
              </a:defRPr>
            </a:lvl4pPr>
            <a:lvl5pPr marL="720000" indent="0">
              <a:buNone/>
              <a:defRPr sz="100">
                <a:noFill/>
              </a:defRPr>
            </a:lvl5pPr>
          </a:lstStyle>
          <a:p>
            <a:pPr lvl="0"/>
            <a:r>
              <a:rPr lang="en-US" noProof="0"/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21525239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zekład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4654DCA-11A1-40F1-B916-49EABA27F5A9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7407F9FC-59C7-48F7-A3E2-A90AC4A905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28600" y="774704"/>
            <a:ext cx="6784976" cy="5724525"/>
          </a:xfrm>
          <a:prstGeom prst="roundRect">
            <a:avLst>
              <a:gd name="adj" fmla="val 1526"/>
            </a:avLst>
          </a:prstGeom>
          <a:solidFill>
            <a:schemeClr val="bg1"/>
          </a:solidFill>
          <a:effectLst>
            <a:outerShdw blurRad="165100" dist="76200" dir="40800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44000" tIns="144000" rIns="91440" bIns="45720" rtlCol="0">
            <a:noAutofit/>
          </a:bodyPr>
          <a:lstStyle>
            <a:lvl1pPr marL="0" indent="0">
              <a:buNone/>
              <a:defRPr lang="en-GB" sz="2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8BAE56DC-67FE-45CE-AA2E-B37DD136E1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1063" y="2351816"/>
            <a:ext cx="5685732" cy="2152644"/>
          </a:xfrm>
          <a:custGeom>
            <a:avLst/>
            <a:gdLst>
              <a:gd name="connsiteX0" fmla="*/ 76200 w 5685732"/>
              <a:gd name="connsiteY0" fmla="*/ 0 h 2152644"/>
              <a:gd name="connsiteX1" fmla="*/ 5609532 w 5685732"/>
              <a:gd name="connsiteY1" fmla="*/ 0 h 2152644"/>
              <a:gd name="connsiteX2" fmla="*/ 5685732 w 5685732"/>
              <a:gd name="connsiteY2" fmla="*/ 76200 h 2152644"/>
              <a:gd name="connsiteX3" fmla="*/ 5685732 w 5685732"/>
              <a:gd name="connsiteY3" fmla="*/ 2076445 h 2152644"/>
              <a:gd name="connsiteX4" fmla="*/ 5609532 w 5685732"/>
              <a:gd name="connsiteY4" fmla="*/ 2152644 h 2152644"/>
              <a:gd name="connsiteX5" fmla="*/ 76200 w 5685732"/>
              <a:gd name="connsiteY5" fmla="*/ 2152644 h 2152644"/>
              <a:gd name="connsiteX6" fmla="*/ 0 w 5685732"/>
              <a:gd name="connsiteY6" fmla="*/ 2076445 h 2152644"/>
              <a:gd name="connsiteX7" fmla="*/ 0 w 5685732"/>
              <a:gd name="connsiteY7" fmla="*/ 76200 h 2152644"/>
              <a:gd name="connsiteX8" fmla="*/ 76200 w 5685732"/>
              <a:gd name="connsiteY8" fmla="*/ 0 h 2152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85732" h="2152644">
                <a:moveTo>
                  <a:pt x="76200" y="0"/>
                </a:moveTo>
                <a:lnTo>
                  <a:pt x="5609532" y="0"/>
                </a:lnTo>
                <a:cubicBezTo>
                  <a:pt x="5651620" y="0"/>
                  <a:pt x="5685732" y="34118"/>
                  <a:pt x="5685732" y="76200"/>
                </a:cubicBezTo>
                <a:lnTo>
                  <a:pt x="5685732" y="2076445"/>
                </a:lnTo>
                <a:cubicBezTo>
                  <a:pt x="5685732" y="2118526"/>
                  <a:pt x="5651620" y="2152644"/>
                  <a:pt x="5609532" y="2152644"/>
                </a:cubicBezTo>
                <a:lnTo>
                  <a:pt x="76200" y="2152644"/>
                </a:lnTo>
                <a:cubicBezTo>
                  <a:pt x="34119" y="2152644"/>
                  <a:pt x="0" y="2118526"/>
                  <a:pt x="0" y="2076445"/>
                </a:cubicBezTo>
                <a:lnTo>
                  <a:pt x="0" y="76200"/>
                </a:lnTo>
                <a:cubicBezTo>
                  <a:pt x="0" y="34118"/>
                  <a:pt x="34119" y="0"/>
                  <a:pt x="76200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17254E-F2D6-4AD8-9D9F-00003AB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19638" y="2352707"/>
            <a:ext cx="5685730" cy="2152644"/>
          </a:xfrm>
        </p:spPr>
        <p:txBody>
          <a:bodyPr anchor="ctr">
            <a:noAutofit/>
          </a:bodyPr>
          <a:lstStyle>
            <a:lvl1pPr algn="ctr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Wprowadź tytuł przekładk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4766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zekładk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C4D5D1C-E057-47C3-A814-ED09FBE2B65A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FF2DF2DB-CD1D-43CD-AA7A-0B919525E86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</p:spPr>
        <p:txBody>
          <a:bodyPr lIns="144000" tIns="144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Wstaw zdjęcie</a:t>
            </a:r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8BAE56DC-67FE-45CE-AA2E-B37DD136E1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21063" y="2351816"/>
            <a:ext cx="5685732" cy="2152644"/>
          </a:xfrm>
          <a:custGeom>
            <a:avLst/>
            <a:gdLst>
              <a:gd name="connsiteX0" fmla="*/ 76200 w 5685732"/>
              <a:gd name="connsiteY0" fmla="*/ 0 h 2152644"/>
              <a:gd name="connsiteX1" fmla="*/ 5609532 w 5685732"/>
              <a:gd name="connsiteY1" fmla="*/ 0 h 2152644"/>
              <a:gd name="connsiteX2" fmla="*/ 5685732 w 5685732"/>
              <a:gd name="connsiteY2" fmla="*/ 76200 h 2152644"/>
              <a:gd name="connsiteX3" fmla="*/ 5685732 w 5685732"/>
              <a:gd name="connsiteY3" fmla="*/ 2076445 h 2152644"/>
              <a:gd name="connsiteX4" fmla="*/ 5609532 w 5685732"/>
              <a:gd name="connsiteY4" fmla="*/ 2152644 h 2152644"/>
              <a:gd name="connsiteX5" fmla="*/ 76200 w 5685732"/>
              <a:gd name="connsiteY5" fmla="*/ 2152644 h 2152644"/>
              <a:gd name="connsiteX6" fmla="*/ 0 w 5685732"/>
              <a:gd name="connsiteY6" fmla="*/ 2076445 h 2152644"/>
              <a:gd name="connsiteX7" fmla="*/ 0 w 5685732"/>
              <a:gd name="connsiteY7" fmla="*/ 76200 h 2152644"/>
              <a:gd name="connsiteX8" fmla="*/ 76200 w 5685732"/>
              <a:gd name="connsiteY8" fmla="*/ 0 h 2152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85732" h="2152644">
                <a:moveTo>
                  <a:pt x="76200" y="0"/>
                </a:moveTo>
                <a:lnTo>
                  <a:pt x="5609532" y="0"/>
                </a:lnTo>
                <a:cubicBezTo>
                  <a:pt x="5651620" y="0"/>
                  <a:pt x="5685732" y="34118"/>
                  <a:pt x="5685732" y="76200"/>
                </a:cubicBezTo>
                <a:lnTo>
                  <a:pt x="5685732" y="2076445"/>
                </a:lnTo>
                <a:cubicBezTo>
                  <a:pt x="5685732" y="2118526"/>
                  <a:pt x="5651620" y="2152644"/>
                  <a:pt x="5609532" y="2152644"/>
                </a:cubicBezTo>
                <a:lnTo>
                  <a:pt x="76200" y="2152644"/>
                </a:lnTo>
                <a:cubicBezTo>
                  <a:pt x="34119" y="2152644"/>
                  <a:pt x="0" y="2118526"/>
                  <a:pt x="0" y="2076445"/>
                </a:cubicBezTo>
                <a:lnTo>
                  <a:pt x="0" y="76200"/>
                </a:lnTo>
                <a:cubicBezTo>
                  <a:pt x="0" y="34118"/>
                  <a:pt x="34119" y="0"/>
                  <a:pt x="76200" y="0"/>
                </a:cubicBezTo>
                <a:close/>
              </a:path>
            </a:pathLst>
          </a:custGeom>
          <a:solidFill>
            <a:schemeClr val="accent1">
              <a:alpha val="91000"/>
            </a:schemeClr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17254E-F2D6-4AD8-9D9F-00003AB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19638" y="2352707"/>
            <a:ext cx="5685730" cy="2152644"/>
          </a:xfrm>
        </p:spPr>
        <p:txBody>
          <a:bodyPr anchor="ctr">
            <a:noAutofit/>
          </a:bodyPr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r>
              <a:rPr lang="en-US"/>
              <a:t> </a:t>
            </a:r>
            <a:r>
              <a:rPr lang="en-US" err="1"/>
              <a:t>przekładk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36684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końc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3CA21F9-2853-4ADC-A93A-D7C996638CB7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FF2DF2DB-CD1D-43CD-AA7A-0B919525E86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</p:spPr>
        <p:txBody>
          <a:bodyPr lIns="144000" tIns="144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Wstaw zdjęcie</a:t>
            </a:r>
            <a:endParaRPr lang="en-GB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8BAE56DC-67FE-45CE-AA2E-B37DD136E1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53134" y="2351816"/>
            <a:ext cx="5685732" cy="2152644"/>
          </a:xfrm>
          <a:custGeom>
            <a:avLst/>
            <a:gdLst>
              <a:gd name="connsiteX0" fmla="*/ 76200 w 5685732"/>
              <a:gd name="connsiteY0" fmla="*/ 0 h 2152644"/>
              <a:gd name="connsiteX1" fmla="*/ 5609532 w 5685732"/>
              <a:gd name="connsiteY1" fmla="*/ 0 h 2152644"/>
              <a:gd name="connsiteX2" fmla="*/ 5685732 w 5685732"/>
              <a:gd name="connsiteY2" fmla="*/ 76200 h 2152644"/>
              <a:gd name="connsiteX3" fmla="*/ 5685732 w 5685732"/>
              <a:gd name="connsiteY3" fmla="*/ 2076445 h 2152644"/>
              <a:gd name="connsiteX4" fmla="*/ 5609532 w 5685732"/>
              <a:gd name="connsiteY4" fmla="*/ 2152644 h 2152644"/>
              <a:gd name="connsiteX5" fmla="*/ 76200 w 5685732"/>
              <a:gd name="connsiteY5" fmla="*/ 2152644 h 2152644"/>
              <a:gd name="connsiteX6" fmla="*/ 0 w 5685732"/>
              <a:gd name="connsiteY6" fmla="*/ 2076445 h 2152644"/>
              <a:gd name="connsiteX7" fmla="*/ 0 w 5685732"/>
              <a:gd name="connsiteY7" fmla="*/ 76200 h 2152644"/>
              <a:gd name="connsiteX8" fmla="*/ 76200 w 5685732"/>
              <a:gd name="connsiteY8" fmla="*/ 0 h 2152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85732" h="2152644">
                <a:moveTo>
                  <a:pt x="76200" y="0"/>
                </a:moveTo>
                <a:lnTo>
                  <a:pt x="5609532" y="0"/>
                </a:lnTo>
                <a:cubicBezTo>
                  <a:pt x="5651620" y="0"/>
                  <a:pt x="5685732" y="34118"/>
                  <a:pt x="5685732" y="76200"/>
                </a:cubicBezTo>
                <a:lnTo>
                  <a:pt x="5685732" y="2076445"/>
                </a:lnTo>
                <a:cubicBezTo>
                  <a:pt x="5685732" y="2118526"/>
                  <a:pt x="5651620" y="2152644"/>
                  <a:pt x="5609532" y="2152644"/>
                </a:cubicBezTo>
                <a:lnTo>
                  <a:pt x="76200" y="2152644"/>
                </a:lnTo>
                <a:cubicBezTo>
                  <a:pt x="34119" y="2152644"/>
                  <a:pt x="0" y="2118526"/>
                  <a:pt x="0" y="2076445"/>
                </a:cubicBezTo>
                <a:lnTo>
                  <a:pt x="0" y="76200"/>
                </a:lnTo>
                <a:cubicBezTo>
                  <a:pt x="0" y="34118"/>
                  <a:pt x="34119" y="0"/>
                  <a:pt x="76200" y="0"/>
                </a:cubicBezTo>
                <a:close/>
              </a:path>
            </a:pathLst>
          </a:custGeom>
          <a:solidFill>
            <a:schemeClr val="accent1">
              <a:alpha val="91000"/>
            </a:schemeClr>
          </a:solidFill>
          <a:effectLst>
            <a:outerShdw blurRad="304800" dist="889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17254E-F2D6-4AD8-9D9F-00003AB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53135" y="2352707"/>
            <a:ext cx="5685730" cy="2152644"/>
          </a:xfrm>
        </p:spPr>
        <p:txBody>
          <a:bodyPr anchor="ctr">
            <a:noAutofit/>
          </a:bodyPr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pl-PL"/>
              <a:t>Wprowadź teks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504790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pl-PL"/>
              <a:t>Wprowadź 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01372182-AF33-4FB8-9445-40459DA5A7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6" y="1376365"/>
            <a:ext cx="11157128" cy="4608505"/>
          </a:xfrm>
        </p:spPr>
        <p:txBody>
          <a:bodyPr lIns="0" rIns="0">
            <a:noAutofit/>
          </a:bodyPr>
          <a:lstStyle>
            <a:lvl1pPr marL="216000" indent="-216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bg1"/>
                </a:solidFill>
              </a:defRPr>
            </a:lvl1pPr>
            <a:lvl2pPr marL="432000" indent="-19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2pPr>
            <a:lvl3pPr marL="612000" indent="-162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bg1"/>
                </a:solidFill>
              </a:defRPr>
            </a:lvl3pPr>
            <a:lvl4pPr marL="756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4pPr>
            <a:lvl5pPr marL="918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pl-PL"/>
              <a:t>Wprowadź 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3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4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F695E7F-A8B8-4CD7-8894-CF0E7BF4884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936" y="6057900"/>
            <a:ext cx="11157128" cy="395288"/>
          </a:xfrm>
        </p:spPr>
        <p:txBody>
          <a:bodyPr lIns="0" tIns="36000" rIns="0" bIns="36000" anchor="b">
            <a:norm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staw stopkę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6ADAB41-3323-47AF-AB30-494FDF103E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1456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nagłówki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A93844E-36E8-4650-A521-8E14C1B0FA5B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9BC66E2-864D-49A5-8112-EE9849F5BC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71090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E0BC72-014D-4335-86B0-A5F4F36CE534}"/>
              </a:ext>
            </a:extLst>
          </p:cNvPr>
          <p:cNvSpPr txBox="1"/>
          <p:nvPr userDrawn="1"/>
        </p:nvSpPr>
        <p:spPr>
          <a:xfrm>
            <a:off x="8482627" y="865711"/>
            <a:ext cx="332921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Każde nowo wstawiane pole tekstowe zawiera </a:t>
            </a:r>
            <a:b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pl-PL" sz="1600" i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„</a:t>
            </a:r>
            <a:r>
              <a:rPr lang="pl-PL" sz="1600" i="1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żabkowy</a:t>
            </a:r>
            <a:r>
              <a:rPr lang="pl-PL" sz="1600" i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” </a:t>
            </a:r>
            <a:r>
              <a:rPr lang="pl-PL" sz="160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unktor</a:t>
            </a:r>
            <a: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</a:p>
          <a:p>
            <a:endParaRPr lang="pl-PL" sz="1600" kern="120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  <a:p>
            <a:r>
              <a:rPr lang="pl-PL" sz="1600" kern="12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Jeśli chcesz go usunąć </a:t>
            </a:r>
            <a: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– ustaw kursor tuż za nim i naciśnij na klawiaturze przycisk </a:t>
            </a:r>
            <a:r>
              <a:rPr lang="pl-PL" sz="1600" i="1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ackspace</a:t>
            </a:r>
            <a: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</a:t>
            </a:r>
          </a:p>
        </p:txBody>
      </p:sp>
      <p:pic>
        <p:nvPicPr>
          <p:cNvPr id="14" name="Obraz 13">
            <a:extLst>
              <a:ext uri="{FF2B5EF4-FFF2-40B4-BE49-F238E27FC236}">
                <a16:creationId xmlns:a16="http://schemas.microsoft.com/office/drawing/2014/main" id="{371728CD-1746-4522-8066-8986C73C4F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91" t="1585" r="15996" b="-1"/>
          <a:stretch/>
        </p:blipFill>
        <p:spPr>
          <a:xfrm>
            <a:off x="6401293" y="1004973"/>
            <a:ext cx="1910857" cy="1524981"/>
          </a:xfrm>
          <a:prstGeom prst="roundRect">
            <a:avLst>
              <a:gd name="adj" fmla="val 3566"/>
            </a:avLst>
          </a:prstGeom>
          <a:solidFill>
            <a:schemeClr val="bg1"/>
          </a:solidFill>
          <a:effectLst>
            <a:outerShdw blurRad="304800" dist="228600" dir="30600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15" name="Prostokąt: zaokrąglone rogi 14">
            <a:extLst>
              <a:ext uri="{FF2B5EF4-FFF2-40B4-BE49-F238E27FC236}">
                <a16:creationId xmlns:a16="http://schemas.microsoft.com/office/drawing/2014/main" id="{0E2BF44D-4F93-4C5B-8029-26EE6730540E}"/>
              </a:ext>
            </a:extLst>
          </p:cNvPr>
          <p:cNvSpPr/>
          <p:nvPr userDrawn="1"/>
        </p:nvSpPr>
        <p:spPr>
          <a:xfrm>
            <a:off x="6390499" y="2069555"/>
            <a:ext cx="222250" cy="186026"/>
          </a:xfrm>
          <a:prstGeom prst="roundRect">
            <a:avLst>
              <a:gd name="adj" fmla="val 2213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latin typeface="Calibri" panose="020F0502020204030204" pitchFamily="34" charset="0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BF8F1E3-800E-49EA-897B-64C55C33EE1B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196AD05-1D3D-4BF7-AE74-47CC4A7121A3}"/>
              </a:ext>
            </a:extLst>
          </p:cNvPr>
          <p:cNvSpPr/>
          <p:nvPr userDrawn="1"/>
        </p:nvSpPr>
        <p:spPr>
          <a:xfrm>
            <a:off x="515936" y="917470"/>
            <a:ext cx="5543550" cy="2736056"/>
          </a:xfrm>
          <a:prstGeom prst="roundRect">
            <a:avLst>
              <a:gd name="adj" fmla="val 1225"/>
            </a:avLst>
          </a:prstGeom>
          <a:noFill/>
          <a:ln w="952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pl-PL">
              <a:latin typeface="Calibri" panose="020F050202020403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3BEB369A-371D-4B43-AC0E-6D89710B19E4}"/>
              </a:ext>
            </a:extLst>
          </p:cNvPr>
          <p:cNvSpPr/>
          <p:nvPr userDrawn="1"/>
        </p:nvSpPr>
        <p:spPr>
          <a:xfrm>
            <a:off x="515936" y="3716338"/>
            <a:ext cx="5543550" cy="2736056"/>
          </a:xfrm>
          <a:prstGeom prst="roundRect">
            <a:avLst>
              <a:gd name="adj" fmla="val 1225"/>
            </a:avLst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l-PL">
              <a:latin typeface="Calibri" panose="020F050202020403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6742894-657B-407B-8E0F-CC2A943A8F2B}"/>
              </a:ext>
            </a:extLst>
          </p:cNvPr>
          <p:cNvSpPr/>
          <p:nvPr userDrawn="1"/>
        </p:nvSpPr>
        <p:spPr>
          <a:xfrm>
            <a:off x="6132512" y="3724171"/>
            <a:ext cx="5543550" cy="2736056"/>
          </a:xfrm>
          <a:prstGeom prst="roundRect">
            <a:avLst>
              <a:gd name="adj" fmla="val 1225"/>
            </a:avLst>
          </a:pr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l-PL">
              <a:latin typeface="Calibri" panose="020F050202020403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7DD6D6D-49DA-4A1A-ADA3-AEC4E25B5930}"/>
              </a:ext>
            </a:extLst>
          </p:cNvPr>
          <p:cNvSpPr txBox="1"/>
          <p:nvPr userDrawn="1"/>
        </p:nvSpPr>
        <p:spPr>
          <a:xfrm>
            <a:off x="6295144" y="2860877"/>
            <a:ext cx="554355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y wybrać inny kolor </a:t>
            </a:r>
            <a:r>
              <a:rPr lang="pl-PL" sz="160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unktora</a:t>
            </a:r>
            <a:r>
              <a:rPr lang="pl-PL" sz="16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należy skopiować wybrane pole tekstowe z tego slajdu i pracować na nim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EF3C3EB-239A-4F40-965A-26D39E81B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9278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5AD6CA3-817F-4021-B353-61702F8B076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5" y="908050"/>
            <a:ext cx="11157128" cy="865189"/>
          </a:xfrm>
        </p:spPr>
        <p:txBody>
          <a:bodyPr lIns="0" rIns="0">
            <a:noAutofit/>
          </a:bodyPr>
          <a:lstStyle>
            <a:lvl1pPr marL="216000" indent="-216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bg1"/>
                </a:solidFill>
              </a:defRPr>
            </a:lvl1pPr>
            <a:lvl2pPr marL="432000" indent="-19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2pPr>
            <a:lvl3pPr marL="612000" indent="-162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bg1"/>
                </a:solidFill>
              </a:defRPr>
            </a:lvl3pPr>
            <a:lvl4pPr marL="756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4pPr>
            <a:lvl5pPr marL="918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3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4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3C50EC0F-4342-48A3-92F2-71E8888147A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32514" y="1844675"/>
            <a:ext cx="5543549" cy="4608513"/>
          </a:xfrm>
          <a:prstGeom prst="roundRect">
            <a:avLst>
              <a:gd name="adj" fmla="val 2476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7DE077B-DA72-4BE6-8A1F-0CFDABD11DC6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718B53-89E0-45C8-A7D7-44096216A6E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936" y="6057900"/>
            <a:ext cx="5072239" cy="395288"/>
          </a:xfrm>
        </p:spPr>
        <p:txBody>
          <a:bodyPr lIns="0" tIns="36000" rIns="0" bIns="36000" anchor="b">
            <a:norm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staw stopkę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DBB7F44-B95E-4A65-915B-1505D89E26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49517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Wprowadź 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01372182-AF33-4FB8-9445-40459DA5A7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6" y="1376365"/>
            <a:ext cx="11157128" cy="4608505"/>
          </a:xfrm>
        </p:spPr>
        <p:txBody>
          <a:bodyPr lIns="0" rIns="0">
            <a:noAutofit/>
          </a:bodyPr>
          <a:lstStyle>
            <a:lvl1pPr marL="216000" indent="-216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accent1"/>
                </a:solidFill>
              </a:defRPr>
            </a:lvl4pPr>
            <a:lvl5pPr marL="918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pl-PL"/>
              <a:t>Wprowadź 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3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4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5EA395B-C7A5-4BE8-9255-7A670B7B2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5845" b="25845"/>
          <a:stretch/>
        </p:blipFill>
        <p:spPr>
          <a:xfrm>
            <a:off x="5848919" y="6524206"/>
            <a:ext cx="513781" cy="247330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44254E-6114-4E1D-84E8-2BF584DEB4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936" y="6057900"/>
            <a:ext cx="11157128" cy="395288"/>
          </a:xfrm>
        </p:spPr>
        <p:txBody>
          <a:bodyPr lIns="0" tIns="36000" rIns="0" bIns="36000" anchor="b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staw stopkę</a:t>
            </a: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EA7F910-FE4B-4612-911A-7B38E6DF58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65997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214CBAAF-84B5-48E1-AD5B-AACCCE07E03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32514" y="908051"/>
            <a:ext cx="5548730" cy="5545138"/>
          </a:xfrm>
          <a:prstGeom prst="roundRect">
            <a:avLst>
              <a:gd name="adj" fmla="val 2141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CFED9EB-9CEF-479C-B89F-816D273A282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5" y="908050"/>
            <a:ext cx="5072240" cy="5076825"/>
          </a:xfrm>
        </p:spPr>
        <p:txBody>
          <a:bodyPr lIns="0" rIns="0">
            <a:noAutofit/>
          </a:bodyPr>
          <a:lstStyle>
            <a:lvl1pPr marL="216000" indent="-216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bg1"/>
                </a:solidFill>
              </a:defRPr>
            </a:lvl1pPr>
            <a:lvl2pPr marL="432000" indent="-19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2pPr>
            <a:lvl3pPr marL="612000" indent="-162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bg1"/>
                </a:solidFill>
              </a:defRPr>
            </a:lvl3pPr>
            <a:lvl4pPr marL="756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4pPr>
            <a:lvl5pPr marL="918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3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4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5B10DEC5-29C9-46D6-8F0F-ED8ED28236AC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CD2C489-4DB7-40B0-A45C-3945AD07817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936" y="6057900"/>
            <a:ext cx="5072239" cy="395288"/>
          </a:xfrm>
        </p:spPr>
        <p:txBody>
          <a:bodyPr lIns="0" tIns="36000" rIns="0" bIns="36000" anchor="b">
            <a:norm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staw stopkę</a:t>
            </a:r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C894C7A-7973-4D72-8E22-238846A30A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91656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zema kolumna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99">
            <a:extLst>
              <a:ext uri="{FF2B5EF4-FFF2-40B4-BE49-F238E27FC236}">
                <a16:creationId xmlns:a16="http://schemas.microsoft.com/office/drawing/2014/main" id="{1DB78240-77B8-488E-9F8E-E9BF131BF597}"/>
              </a:ext>
            </a:extLst>
          </p:cNvPr>
          <p:cNvSpPr/>
          <p:nvPr userDrawn="1"/>
        </p:nvSpPr>
        <p:spPr>
          <a:xfrm>
            <a:off x="1460499" y="2323527"/>
            <a:ext cx="2727325" cy="412966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C606DC1A-A769-48BE-8FE7-1CFAA7EBD51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60499" y="2323526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EDABBE9-3498-44F6-89C6-5420055B092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4" y="910383"/>
            <a:ext cx="11157129" cy="856505"/>
          </a:xfrm>
          <a:prstGeom prst="roundRect">
            <a:avLst>
              <a:gd name="adj" fmla="val 9260"/>
            </a:avLst>
          </a:prstGeom>
          <a:ln>
            <a:solidFill>
              <a:schemeClr val="bg1"/>
            </a:solidFill>
          </a:ln>
        </p:spPr>
        <p:txBody>
          <a:bodyPr anchor="ctr">
            <a:noAutofit/>
          </a:bodyPr>
          <a:lstStyle>
            <a:lvl1pPr marL="216000" indent="-216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bg1"/>
                </a:solidFill>
              </a:defRPr>
            </a:lvl1pPr>
            <a:lvl2pPr marL="432000" indent="-198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2pPr>
            <a:lvl3pPr marL="612000" indent="-162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bg1"/>
                </a:solidFill>
              </a:defRPr>
            </a:lvl3pPr>
            <a:lvl4pPr marL="756000" indent="-144000" algn="ctr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FF17305-4F64-4A82-89F8-807382E618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4442" y="3730893"/>
            <a:ext cx="2499438" cy="131894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C9DABEEB-4179-4F62-9A05-52445C24418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574443" y="5121275"/>
            <a:ext cx="2499436" cy="125364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bject 299">
            <a:extLst>
              <a:ext uri="{FF2B5EF4-FFF2-40B4-BE49-F238E27FC236}">
                <a16:creationId xmlns:a16="http://schemas.microsoft.com/office/drawing/2014/main" id="{C4859652-3F25-4CDB-857E-F4E823DE4231}"/>
              </a:ext>
            </a:extLst>
          </p:cNvPr>
          <p:cNvSpPr/>
          <p:nvPr userDrawn="1"/>
        </p:nvSpPr>
        <p:spPr>
          <a:xfrm>
            <a:off x="4727575" y="2325115"/>
            <a:ext cx="2727325" cy="412966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437E37-3FDD-4EF4-A6A5-B118F729BF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27575" y="2325114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69DD515C-CAB3-4589-889D-E43FBFB0582E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841518" y="3732481"/>
            <a:ext cx="2499438" cy="131894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Content Placeholder 3">
            <a:extLst>
              <a:ext uri="{FF2B5EF4-FFF2-40B4-BE49-F238E27FC236}">
                <a16:creationId xmlns:a16="http://schemas.microsoft.com/office/drawing/2014/main" id="{CBF580B3-BDD8-487E-8A34-E7679A97DB4C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841519" y="5122863"/>
            <a:ext cx="2499436" cy="125364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object 299">
            <a:extLst>
              <a:ext uri="{FF2B5EF4-FFF2-40B4-BE49-F238E27FC236}">
                <a16:creationId xmlns:a16="http://schemas.microsoft.com/office/drawing/2014/main" id="{4A957D4B-7D6A-4B46-9468-D605AF66ABE1}"/>
              </a:ext>
            </a:extLst>
          </p:cNvPr>
          <p:cNvSpPr/>
          <p:nvPr userDrawn="1"/>
        </p:nvSpPr>
        <p:spPr>
          <a:xfrm>
            <a:off x="8004176" y="2323527"/>
            <a:ext cx="2727325" cy="412966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67" name="Picture Placeholder 3">
            <a:extLst>
              <a:ext uri="{FF2B5EF4-FFF2-40B4-BE49-F238E27FC236}">
                <a16:creationId xmlns:a16="http://schemas.microsoft.com/office/drawing/2014/main" id="{83CD2374-F37A-453A-BF60-9277B32B43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04176" y="2323526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CA7E742F-DFD7-468F-B439-62D3D10E3CFB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118119" y="3730893"/>
            <a:ext cx="2499438" cy="131894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Content Placeholder 3">
            <a:extLst>
              <a:ext uri="{FF2B5EF4-FFF2-40B4-BE49-F238E27FC236}">
                <a16:creationId xmlns:a16="http://schemas.microsoft.com/office/drawing/2014/main" id="{C4D0B7A7-762E-434D-BFCC-F39D5D4425AD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118120" y="5121275"/>
            <a:ext cx="2499436" cy="125364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01FFBF68-8595-4A8B-83E4-651F6F85F063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6575281-5D8B-4FB9-BFF2-DE40E6741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15618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zema kolumnam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299">
            <a:extLst>
              <a:ext uri="{FF2B5EF4-FFF2-40B4-BE49-F238E27FC236}">
                <a16:creationId xmlns:a16="http://schemas.microsoft.com/office/drawing/2014/main" id="{1DB78240-77B8-488E-9F8E-E9BF131BF597}"/>
              </a:ext>
            </a:extLst>
          </p:cNvPr>
          <p:cNvSpPr/>
          <p:nvPr userDrawn="1"/>
        </p:nvSpPr>
        <p:spPr>
          <a:xfrm>
            <a:off x="1460499" y="1383253"/>
            <a:ext cx="2727325" cy="460162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C606DC1A-A769-48BE-8FE7-1CFAA7EBD51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60499" y="1383252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FF17305-4F64-4A82-89F8-807382E618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4442" y="2781301"/>
            <a:ext cx="2499438" cy="1552546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C9DABEEB-4179-4F62-9A05-52445C24418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574443" y="4405283"/>
            <a:ext cx="2499436" cy="140858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bject 299">
            <a:extLst>
              <a:ext uri="{FF2B5EF4-FFF2-40B4-BE49-F238E27FC236}">
                <a16:creationId xmlns:a16="http://schemas.microsoft.com/office/drawing/2014/main" id="{C4859652-3F25-4CDB-857E-F4E823DE4231}"/>
              </a:ext>
            </a:extLst>
          </p:cNvPr>
          <p:cNvSpPr/>
          <p:nvPr userDrawn="1"/>
        </p:nvSpPr>
        <p:spPr>
          <a:xfrm>
            <a:off x="4727575" y="1384841"/>
            <a:ext cx="2727325" cy="460162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437E37-3FDD-4EF4-A6A5-B118F729BF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27575" y="1384840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69DD515C-CAB3-4589-889D-E43FBFB0582E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841518" y="2782889"/>
            <a:ext cx="2499438" cy="1552546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Content Placeholder 3">
            <a:extLst>
              <a:ext uri="{FF2B5EF4-FFF2-40B4-BE49-F238E27FC236}">
                <a16:creationId xmlns:a16="http://schemas.microsoft.com/office/drawing/2014/main" id="{CBF580B3-BDD8-487E-8A34-E7679A97DB4C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841519" y="4406871"/>
            <a:ext cx="2499436" cy="140858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object 299">
            <a:extLst>
              <a:ext uri="{FF2B5EF4-FFF2-40B4-BE49-F238E27FC236}">
                <a16:creationId xmlns:a16="http://schemas.microsoft.com/office/drawing/2014/main" id="{4A957D4B-7D6A-4B46-9468-D605AF66ABE1}"/>
              </a:ext>
            </a:extLst>
          </p:cNvPr>
          <p:cNvSpPr/>
          <p:nvPr userDrawn="1"/>
        </p:nvSpPr>
        <p:spPr>
          <a:xfrm>
            <a:off x="8004176" y="1383253"/>
            <a:ext cx="2727325" cy="4601622"/>
          </a:xfrm>
          <a:prstGeom prst="roundRect">
            <a:avLst>
              <a:gd name="adj" fmla="val 2932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67" name="Picture Placeholder 3">
            <a:extLst>
              <a:ext uri="{FF2B5EF4-FFF2-40B4-BE49-F238E27FC236}">
                <a16:creationId xmlns:a16="http://schemas.microsoft.com/office/drawing/2014/main" id="{83CD2374-F37A-453A-BF60-9277B32B43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04176" y="1383252"/>
            <a:ext cx="2727325" cy="1321374"/>
          </a:xfrm>
          <a:prstGeom prst="roundRect">
            <a:avLst>
              <a:gd name="adj" fmla="val 5874"/>
            </a:avLst>
          </a:prstGeom>
          <a:solidFill>
            <a:srgbClr val="FFFFFF"/>
          </a:solidFill>
          <a:effectLst/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CA7E742F-DFD7-468F-B439-62D3D10E3CFB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118119" y="2781301"/>
            <a:ext cx="2499438" cy="1552546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Content Placeholder 3">
            <a:extLst>
              <a:ext uri="{FF2B5EF4-FFF2-40B4-BE49-F238E27FC236}">
                <a16:creationId xmlns:a16="http://schemas.microsoft.com/office/drawing/2014/main" id="{C4D0B7A7-762E-434D-BFCC-F39D5D4425AD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118120" y="4405283"/>
            <a:ext cx="2499436" cy="1408587"/>
          </a:xfrm>
        </p:spPr>
        <p:txBody>
          <a:bodyPr>
            <a:noAutofit/>
          </a:bodyPr>
          <a:lstStyle>
            <a:lvl1pPr marL="0" indent="0" algn="ctr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269F01D8-6E9F-412A-8CE7-9D28F2218393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17802CB9-920F-434E-8595-F8689E5E5A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50457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 i tabel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299">
            <a:extLst>
              <a:ext uri="{FF2B5EF4-FFF2-40B4-BE49-F238E27FC236}">
                <a16:creationId xmlns:a16="http://schemas.microsoft.com/office/drawing/2014/main" id="{54FCE9E5-8A99-42A4-9FF4-5ACC7E222D90}"/>
              </a:ext>
            </a:extLst>
          </p:cNvPr>
          <p:cNvSpPr/>
          <p:nvPr userDrawn="1"/>
        </p:nvSpPr>
        <p:spPr>
          <a:xfrm>
            <a:off x="515937" y="1844676"/>
            <a:ext cx="3671887" cy="4614594"/>
          </a:xfrm>
          <a:prstGeom prst="roundRect">
            <a:avLst>
              <a:gd name="adj" fmla="val 1765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Wprowadź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EDABBE9-3498-44F6-89C6-5420055B092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4" y="910383"/>
            <a:ext cx="11157129" cy="856505"/>
          </a:xfrm>
          <a:prstGeom prst="roundRect">
            <a:avLst>
              <a:gd name="adj" fmla="val 9260"/>
            </a:avLst>
          </a:prstGeom>
          <a:ln>
            <a:solidFill>
              <a:schemeClr val="bg1"/>
            </a:solidFill>
          </a:ln>
        </p:spPr>
        <p:txBody>
          <a:bodyPr anchor="ctr">
            <a:noAutofit/>
          </a:bodyPr>
          <a:lstStyle>
            <a:lvl1pPr marL="216000" indent="-216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bg1"/>
                </a:solidFill>
              </a:defRPr>
            </a:lvl1pPr>
            <a:lvl2pPr marL="432000" indent="-198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2pPr>
            <a:lvl3pPr marL="612000" indent="-162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bg1"/>
                </a:solidFill>
              </a:defRPr>
            </a:lvl3pPr>
            <a:lvl4pPr marL="756000" indent="-144000" algn="ctr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1E2B0F4D-507D-4C1A-BEF4-41FA5EDC8E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259263" y="1844676"/>
            <a:ext cx="6950075" cy="2736850"/>
          </a:xfrm>
          <a:prstGeom prst="roundRect">
            <a:avLst>
              <a:gd name="adj" fmla="val 2141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en-GB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  <a:endParaRPr lang="en-GB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D7A0508A-3C91-4C46-9E3F-B9584B483658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83851" y="1995835"/>
            <a:ext cx="3336058" cy="4312276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16000" indent="-216000" algn="l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1pPr>
            <a:lvl2pPr marL="432000" indent="-198000" algn="l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00">
                <a:solidFill>
                  <a:schemeClr val="accent1"/>
                </a:solidFill>
              </a:defRPr>
            </a:lvl2pPr>
            <a:lvl3pPr marL="612000" indent="-162000" algn="l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>
                <a:tab pos="1076325" algn="l"/>
              </a:tabLst>
              <a:defRPr sz="12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41431CA-91F6-4352-820C-2B934FE8333F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4" name="Text Placeholder 47">
            <a:extLst>
              <a:ext uri="{FF2B5EF4-FFF2-40B4-BE49-F238E27FC236}">
                <a16:creationId xmlns:a16="http://schemas.microsoft.com/office/drawing/2014/main" id="{6820C491-5F62-410A-A0A8-3CC91B9386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27575" y="3716338"/>
            <a:ext cx="6948487" cy="2736849"/>
          </a:xfrm>
          <a:prstGeom prst="roundRect">
            <a:avLst>
              <a:gd name="adj" fmla="val 2224"/>
            </a:avLst>
          </a:prstGeom>
          <a:solidFill>
            <a:schemeClr val="bg1"/>
          </a:solidFill>
          <a:effectLst>
            <a:outerShdw blurRad="304800" dir="4080000" sx="102000" sy="102000" algn="ctr" rotWithShape="0">
              <a:prstClr val="black">
                <a:alpha val="15000"/>
              </a:prstClr>
            </a:outerShdw>
          </a:effectLst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18" name="Table Placeholder 7">
            <a:extLst>
              <a:ext uri="{FF2B5EF4-FFF2-40B4-BE49-F238E27FC236}">
                <a16:creationId xmlns:a16="http://schemas.microsoft.com/office/drawing/2014/main" id="{94957516-6804-43D8-ACA3-5A0D6372C538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4725988" y="3716338"/>
            <a:ext cx="6950075" cy="2736850"/>
          </a:xfrm>
          <a:prstGeom prst="roundRect">
            <a:avLst>
              <a:gd name="adj" fmla="val 2451"/>
            </a:avLst>
          </a:prstGeom>
          <a:noFill/>
          <a:effectLst/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en-GB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tabelę</a:t>
            </a:r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9D1B871-DF89-4B00-8C40-BF808E1DEC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51959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wykre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299">
            <a:extLst>
              <a:ext uri="{FF2B5EF4-FFF2-40B4-BE49-F238E27FC236}">
                <a16:creationId xmlns:a16="http://schemas.microsoft.com/office/drawing/2014/main" id="{E822FCE5-67C7-45A4-B632-162128B1736A}"/>
              </a:ext>
            </a:extLst>
          </p:cNvPr>
          <p:cNvSpPr/>
          <p:nvPr userDrawn="1"/>
        </p:nvSpPr>
        <p:spPr>
          <a:xfrm>
            <a:off x="518935" y="908050"/>
            <a:ext cx="11160126" cy="393768"/>
          </a:xfrm>
          <a:prstGeom prst="roundRect">
            <a:avLst>
              <a:gd name="adj" fmla="val 1446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 fontScale="85000" lnSpcReduction="20000"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b="1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object 299">
            <a:extLst>
              <a:ext uri="{FF2B5EF4-FFF2-40B4-BE49-F238E27FC236}">
                <a16:creationId xmlns:a16="http://schemas.microsoft.com/office/drawing/2014/main" id="{54FCE9E5-8A99-42A4-9FF4-5ACC7E222D90}"/>
              </a:ext>
            </a:extLst>
          </p:cNvPr>
          <p:cNvSpPr/>
          <p:nvPr userDrawn="1"/>
        </p:nvSpPr>
        <p:spPr>
          <a:xfrm>
            <a:off x="515937" y="1376365"/>
            <a:ext cx="11160126" cy="5082905"/>
          </a:xfrm>
          <a:prstGeom prst="roundRect">
            <a:avLst>
              <a:gd name="adj" fmla="val 1390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6FD38201-F2C9-406F-BF68-01989DB8937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450976" y="1844675"/>
            <a:ext cx="9290050" cy="4140200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D6ECF79-5126-475E-AE7D-9E9417C7998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0959" y="919757"/>
            <a:ext cx="10890082" cy="37035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3AE21B0-651A-4B8D-95AC-A3C7C3C68EFC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A07094A-B605-437A-AA15-403F203F91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57737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dwoma wykresa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299">
            <a:extLst>
              <a:ext uri="{FF2B5EF4-FFF2-40B4-BE49-F238E27FC236}">
                <a16:creationId xmlns:a16="http://schemas.microsoft.com/office/drawing/2014/main" id="{E822FCE5-67C7-45A4-B632-162128B1736A}"/>
              </a:ext>
            </a:extLst>
          </p:cNvPr>
          <p:cNvSpPr/>
          <p:nvPr userDrawn="1"/>
        </p:nvSpPr>
        <p:spPr>
          <a:xfrm>
            <a:off x="518935" y="1379547"/>
            <a:ext cx="11160126" cy="393768"/>
          </a:xfrm>
          <a:prstGeom prst="roundRect">
            <a:avLst>
              <a:gd name="adj" fmla="val 1446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 fontScale="85000" lnSpcReduction="20000"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b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D6ECF79-5126-475E-AE7D-9E9417C7998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0959" y="1391254"/>
            <a:ext cx="10890082" cy="37035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0" name="object 299">
            <a:extLst>
              <a:ext uri="{FF2B5EF4-FFF2-40B4-BE49-F238E27FC236}">
                <a16:creationId xmlns:a16="http://schemas.microsoft.com/office/drawing/2014/main" id="{85FFA50F-55DF-4399-9D18-9AA7A2D7760A}"/>
              </a:ext>
            </a:extLst>
          </p:cNvPr>
          <p:cNvSpPr/>
          <p:nvPr userDrawn="1"/>
        </p:nvSpPr>
        <p:spPr>
          <a:xfrm>
            <a:off x="515938" y="1848184"/>
            <a:ext cx="11160126" cy="2274620"/>
          </a:xfrm>
          <a:prstGeom prst="roundRect">
            <a:avLst>
              <a:gd name="adj" fmla="val 29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A7E2789C-2493-4DE6-A1C1-CCD4BFADA6CD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324225" y="2316496"/>
            <a:ext cx="7885113" cy="1331912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3125072-8EE2-442B-81D1-4AB4EC89FCF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82664" y="2945180"/>
            <a:ext cx="1800226" cy="370355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r>
              <a:rPr lang="en-US"/>
              <a:t> </a:t>
            </a:r>
            <a:r>
              <a:rPr lang="en-US" err="1"/>
              <a:t>wykresu</a:t>
            </a:r>
            <a:endParaRPr lang="en-US"/>
          </a:p>
        </p:txBody>
      </p:sp>
      <p:sp>
        <p:nvSpPr>
          <p:cNvPr id="23" name="object 299">
            <a:extLst>
              <a:ext uri="{FF2B5EF4-FFF2-40B4-BE49-F238E27FC236}">
                <a16:creationId xmlns:a16="http://schemas.microsoft.com/office/drawing/2014/main" id="{54FCE9E5-8A99-42A4-9FF4-5ACC7E222D90}"/>
              </a:ext>
            </a:extLst>
          </p:cNvPr>
          <p:cNvSpPr/>
          <p:nvPr userDrawn="1"/>
        </p:nvSpPr>
        <p:spPr>
          <a:xfrm>
            <a:off x="515937" y="4184651"/>
            <a:ext cx="11160126" cy="2274620"/>
          </a:xfrm>
          <a:prstGeom prst="roundRect">
            <a:avLst>
              <a:gd name="adj" fmla="val 29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6FD38201-F2C9-406F-BF68-01989DB8937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324224" y="4652963"/>
            <a:ext cx="7885113" cy="1331912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1D6AE56-B51B-4354-ADE9-0A5717CB03A5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663" y="5281647"/>
            <a:ext cx="1800226" cy="370355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r>
              <a:rPr lang="en-US"/>
              <a:t> </a:t>
            </a:r>
            <a:r>
              <a:rPr lang="en-US" err="1"/>
              <a:t>wykresu</a:t>
            </a:r>
            <a:endParaRPr lang="en-US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99F77FC7-86A0-4B5F-837E-6E50FFCC7953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FF4504B-908C-4D30-83ED-077D1934F6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14799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dwoma wykresam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299">
            <a:extLst>
              <a:ext uri="{FF2B5EF4-FFF2-40B4-BE49-F238E27FC236}">
                <a16:creationId xmlns:a16="http://schemas.microsoft.com/office/drawing/2014/main" id="{A37BDAD5-064F-40AF-B88A-464BF0E58738}"/>
              </a:ext>
            </a:extLst>
          </p:cNvPr>
          <p:cNvSpPr/>
          <p:nvPr userDrawn="1"/>
        </p:nvSpPr>
        <p:spPr>
          <a:xfrm>
            <a:off x="514350" y="908050"/>
            <a:ext cx="2268538" cy="1800225"/>
          </a:xfrm>
          <a:prstGeom prst="roundRect">
            <a:avLst>
              <a:gd name="adj" fmla="val 3093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38" name="object 299">
            <a:extLst>
              <a:ext uri="{FF2B5EF4-FFF2-40B4-BE49-F238E27FC236}">
                <a16:creationId xmlns:a16="http://schemas.microsoft.com/office/drawing/2014/main" id="{7BD1B61A-D58C-49B5-8D57-047455254516}"/>
              </a:ext>
            </a:extLst>
          </p:cNvPr>
          <p:cNvSpPr/>
          <p:nvPr userDrawn="1"/>
        </p:nvSpPr>
        <p:spPr>
          <a:xfrm>
            <a:off x="2861470" y="908050"/>
            <a:ext cx="2268538" cy="1800225"/>
          </a:xfrm>
          <a:prstGeom prst="roundRect">
            <a:avLst>
              <a:gd name="adj" fmla="val 3093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7" name="object 299">
            <a:extLst>
              <a:ext uri="{FF2B5EF4-FFF2-40B4-BE49-F238E27FC236}">
                <a16:creationId xmlns:a16="http://schemas.microsoft.com/office/drawing/2014/main" id="{A5FF034B-9005-47EB-BA82-66465C4F2112}"/>
              </a:ext>
            </a:extLst>
          </p:cNvPr>
          <p:cNvSpPr/>
          <p:nvPr userDrawn="1"/>
        </p:nvSpPr>
        <p:spPr>
          <a:xfrm>
            <a:off x="5195888" y="908050"/>
            <a:ext cx="6480176" cy="1800225"/>
          </a:xfrm>
          <a:prstGeom prst="roundRect">
            <a:avLst>
              <a:gd name="adj" fmla="val 29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object 299">
            <a:extLst>
              <a:ext uri="{FF2B5EF4-FFF2-40B4-BE49-F238E27FC236}">
                <a16:creationId xmlns:a16="http://schemas.microsoft.com/office/drawing/2014/main" id="{5C9E4300-9A95-4C17-B86E-D2721C997FE0}"/>
              </a:ext>
            </a:extLst>
          </p:cNvPr>
          <p:cNvSpPr/>
          <p:nvPr userDrawn="1"/>
        </p:nvSpPr>
        <p:spPr>
          <a:xfrm>
            <a:off x="515937" y="2781300"/>
            <a:ext cx="5543551" cy="3203575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32" name="Chart Placeholder 3">
            <a:extLst>
              <a:ext uri="{FF2B5EF4-FFF2-40B4-BE49-F238E27FC236}">
                <a16:creationId xmlns:a16="http://schemas.microsoft.com/office/drawing/2014/main" id="{081791D1-C171-484B-B967-D9FEF829542F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776287" y="3496225"/>
            <a:ext cx="5022850" cy="2294476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B9E15331-7B72-4588-9E11-96A097873506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76287" y="2991421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0" name="object 299">
            <a:extLst>
              <a:ext uri="{FF2B5EF4-FFF2-40B4-BE49-F238E27FC236}">
                <a16:creationId xmlns:a16="http://schemas.microsoft.com/office/drawing/2014/main" id="{85FFA50F-55DF-4399-9D18-9AA7A2D7760A}"/>
              </a:ext>
            </a:extLst>
          </p:cNvPr>
          <p:cNvSpPr/>
          <p:nvPr userDrawn="1"/>
        </p:nvSpPr>
        <p:spPr>
          <a:xfrm>
            <a:off x="6132512" y="2781300"/>
            <a:ext cx="5543551" cy="3203575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A7E2789C-2493-4DE6-A1C1-CCD4BFADA6CD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392862" y="3496225"/>
            <a:ext cx="5022850" cy="2294476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3125072-8EE2-442B-81D1-4AB4EC89FCF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92862" y="2991421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40" name="Chart Placeholder 3">
            <a:extLst>
              <a:ext uri="{FF2B5EF4-FFF2-40B4-BE49-F238E27FC236}">
                <a16:creationId xmlns:a16="http://schemas.microsoft.com/office/drawing/2014/main" id="{1D8A5140-B80E-41E5-964B-C9629A88C871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5456241" y="1596746"/>
            <a:ext cx="5959472" cy="924571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2DA05BE-1BA0-4E81-8757-CBC19A513BA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90578" y="1622985"/>
            <a:ext cx="1916083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ekst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7316233-F1D2-451E-96DD-04A67545238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037698" y="1622985"/>
            <a:ext cx="1916083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43" name="Text Placeholder 47">
            <a:extLst>
              <a:ext uri="{FF2B5EF4-FFF2-40B4-BE49-F238E27FC236}">
                <a16:creationId xmlns:a16="http://schemas.microsoft.com/office/drawing/2014/main" id="{6FF1980B-3D87-4AD9-B044-1F45DDB06D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5938" y="6059488"/>
            <a:ext cx="2735262" cy="395288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en-US" sz="1400" b="1" noProof="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pl-PL" noProof="0"/>
              <a:t>Wprowadź tekst</a:t>
            </a:r>
            <a:endParaRPr lang="en-US" noProof="0"/>
          </a:p>
        </p:txBody>
      </p:sp>
      <p:sp>
        <p:nvSpPr>
          <p:cNvPr id="44" name="Text Placeholder 47">
            <a:extLst>
              <a:ext uri="{FF2B5EF4-FFF2-40B4-BE49-F238E27FC236}">
                <a16:creationId xmlns:a16="http://schemas.microsoft.com/office/drawing/2014/main" id="{DB331F1C-0529-47E9-8F74-C51322DB4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24225" y="6059488"/>
            <a:ext cx="2735262" cy="395288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en-US" sz="1400" b="1" noProof="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pl-PL" noProof="0"/>
              <a:t>Wprowadź tekst</a:t>
            </a:r>
            <a:endParaRPr lang="en-US" noProof="0"/>
          </a:p>
        </p:txBody>
      </p:sp>
      <p:sp>
        <p:nvSpPr>
          <p:cNvPr id="47" name="Text Placeholder 47">
            <a:extLst>
              <a:ext uri="{FF2B5EF4-FFF2-40B4-BE49-F238E27FC236}">
                <a16:creationId xmlns:a16="http://schemas.microsoft.com/office/drawing/2014/main" id="{7A875088-7DD7-4DB6-97BF-F91DAE10D1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32513" y="6059488"/>
            <a:ext cx="2735262" cy="395288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en-US" sz="1400" b="1" noProof="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pl-PL" noProof="0"/>
              <a:t>Wprowadź tekst</a:t>
            </a:r>
            <a:endParaRPr lang="en-US" noProof="0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08FFCBF5-79D9-4F64-87CF-0D3797759B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40800" y="6059488"/>
            <a:ext cx="2735262" cy="395288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en-US" sz="1400" b="1" noProof="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pl-PL" noProof="0"/>
              <a:t>Wprowadź tekst</a:t>
            </a:r>
            <a:endParaRPr lang="en-US" noProof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F4A3F1FF-3A3D-49F9-90CA-E0A06190211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5456240" y="1091942"/>
            <a:ext cx="5959471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14DD8260-1500-4A64-95C6-0A853C0A8CC7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5E65B528-5141-4E8F-AE85-DEAC81A89C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1769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czterema wykresa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bject 299">
            <a:extLst>
              <a:ext uri="{FF2B5EF4-FFF2-40B4-BE49-F238E27FC236}">
                <a16:creationId xmlns:a16="http://schemas.microsoft.com/office/drawing/2014/main" id="{BAB767D8-D719-40F1-BDD1-5C9FAC0EDAD5}"/>
              </a:ext>
            </a:extLst>
          </p:cNvPr>
          <p:cNvSpPr/>
          <p:nvPr userDrawn="1"/>
        </p:nvSpPr>
        <p:spPr>
          <a:xfrm>
            <a:off x="515937" y="909265"/>
            <a:ext cx="5543551" cy="2739053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Chart Placeholder 3">
            <a:extLst>
              <a:ext uri="{FF2B5EF4-FFF2-40B4-BE49-F238E27FC236}">
                <a16:creationId xmlns:a16="http://schemas.microsoft.com/office/drawing/2014/main" id="{F96AAF4F-E421-498A-8EFB-E56B9160D0D9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776287" y="1555908"/>
            <a:ext cx="5022850" cy="1915898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2E2D4C7-D438-4EF8-99F3-5CE7103453F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76287" y="1051104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54" name="object 299">
            <a:extLst>
              <a:ext uri="{FF2B5EF4-FFF2-40B4-BE49-F238E27FC236}">
                <a16:creationId xmlns:a16="http://schemas.microsoft.com/office/drawing/2014/main" id="{56E1226E-CEB8-48BB-8436-C94AE4C02934}"/>
              </a:ext>
            </a:extLst>
          </p:cNvPr>
          <p:cNvSpPr/>
          <p:nvPr userDrawn="1"/>
        </p:nvSpPr>
        <p:spPr>
          <a:xfrm>
            <a:off x="6132512" y="909265"/>
            <a:ext cx="5543551" cy="2739053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55" name="Chart Placeholder 3">
            <a:extLst>
              <a:ext uri="{FF2B5EF4-FFF2-40B4-BE49-F238E27FC236}">
                <a16:creationId xmlns:a16="http://schemas.microsoft.com/office/drawing/2014/main" id="{DAC0ADE8-D503-4108-9F80-583B50FB4C57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392862" y="1555908"/>
            <a:ext cx="5022850" cy="1915898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436EDB1-7FCA-4DAF-947B-2F032CE5D4E0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92862" y="1051104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0" name="object 299">
            <a:extLst>
              <a:ext uri="{FF2B5EF4-FFF2-40B4-BE49-F238E27FC236}">
                <a16:creationId xmlns:a16="http://schemas.microsoft.com/office/drawing/2014/main" id="{5C9E4300-9A95-4C17-B86E-D2721C997FE0}"/>
              </a:ext>
            </a:extLst>
          </p:cNvPr>
          <p:cNvSpPr/>
          <p:nvPr userDrawn="1"/>
        </p:nvSpPr>
        <p:spPr>
          <a:xfrm>
            <a:off x="515937" y="3716339"/>
            <a:ext cx="5543551" cy="2739053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32" name="Chart Placeholder 3">
            <a:extLst>
              <a:ext uri="{FF2B5EF4-FFF2-40B4-BE49-F238E27FC236}">
                <a16:creationId xmlns:a16="http://schemas.microsoft.com/office/drawing/2014/main" id="{081791D1-C171-484B-B967-D9FEF829542F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776287" y="4362982"/>
            <a:ext cx="5022850" cy="1915898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B9E15331-7B72-4588-9E11-96A097873506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776287" y="3858178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0" name="object 299">
            <a:extLst>
              <a:ext uri="{FF2B5EF4-FFF2-40B4-BE49-F238E27FC236}">
                <a16:creationId xmlns:a16="http://schemas.microsoft.com/office/drawing/2014/main" id="{85FFA50F-55DF-4399-9D18-9AA7A2D7760A}"/>
              </a:ext>
            </a:extLst>
          </p:cNvPr>
          <p:cNvSpPr/>
          <p:nvPr userDrawn="1"/>
        </p:nvSpPr>
        <p:spPr>
          <a:xfrm>
            <a:off x="6132512" y="3716339"/>
            <a:ext cx="5543551" cy="2739053"/>
          </a:xfrm>
          <a:prstGeom prst="roundRect">
            <a:avLst>
              <a:gd name="adj" fmla="val 202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A7E2789C-2493-4DE6-A1C1-CCD4BFADA6CD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392862" y="4362982"/>
            <a:ext cx="5022850" cy="1915898"/>
          </a:xfrm>
        </p:spPr>
        <p:txBody>
          <a:bodyPr lIns="144000" tIns="144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wykres</a:t>
            </a:r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3125072-8EE2-442B-81D1-4AB4EC89FCF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92862" y="3858178"/>
            <a:ext cx="5022850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934C72C-CDBC-4F69-9A0E-70EC3CC7EF14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B41B47C-1326-4A07-B360-C042094353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00390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czterema zdjęcia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017C4D4E-67A1-4F30-AE03-744F8D94CBA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15937" y="909266"/>
            <a:ext cx="5543551" cy="2739053"/>
          </a:xfrm>
          <a:custGeom>
            <a:avLst/>
            <a:gdLst>
              <a:gd name="connsiteX0" fmla="*/ 55466 w 5543551"/>
              <a:gd name="connsiteY0" fmla="*/ 0 h 2739053"/>
              <a:gd name="connsiteX1" fmla="*/ 5488085 w 5543551"/>
              <a:gd name="connsiteY1" fmla="*/ 0 h 2739053"/>
              <a:gd name="connsiteX2" fmla="*/ 5543551 w 5543551"/>
              <a:gd name="connsiteY2" fmla="*/ 55466 h 2739053"/>
              <a:gd name="connsiteX3" fmla="*/ 5543551 w 5543551"/>
              <a:gd name="connsiteY3" fmla="*/ 2683587 h 2739053"/>
              <a:gd name="connsiteX4" fmla="*/ 5488085 w 5543551"/>
              <a:gd name="connsiteY4" fmla="*/ 2739053 h 2739053"/>
              <a:gd name="connsiteX5" fmla="*/ 55466 w 5543551"/>
              <a:gd name="connsiteY5" fmla="*/ 2739053 h 2739053"/>
              <a:gd name="connsiteX6" fmla="*/ 0 w 5543551"/>
              <a:gd name="connsiteY6" fmla="*/ 2683587 h 2739053"/>
              <a:gd name="connsiteX7" fmla="*/ 0 w 5543551"/>
              <a:gd name="connsiteY7" fmla="*/ 55466 h 2739053"/>
              <a:gd name="connsiteX8" fmla="*/ 55466 w 5543551"/>
              <a:gd name="connsiteY8" fmla="*/ 0 h 2739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2739053">
                <a:moveTo>
                  <a:pt x="55466" y="0"/>
                </a:moveTo>
                <a:lnTo>
                  <a:pt x="5488085" y="0"/>
                </a:lnTo>
                <a:cubicBezTo>
                  <a:pt x="5518718" y="0"/>
                  <a:pt x="5543551" y="24833"/>
                  <a:pt x="5543551" y="55466"/>
                </a:cubicBezTo>
                <a:lnTo>
                  <a:pt x="5543551" y="2683587"/>
                </a:lnTo>
                <a:cubicBezTo>
                  <a:pt x="5543551" y="2714220"/>
                  <a:pt x="5518718" y="2739053"/>
                  <a:pt x="5488085" y="2739053"/>
                </a:cubicBezTo>
                <a:lnTo>
                  <a:pt x="55466" y="2739053"/>
                </a:lnTo>
                <a:cubicBezTo>
                  <a:pt x="24833" y="2739053"/>
                  <a:pt x="0" y="2714220"/>
                  <a:pt x="0" y="2683587"/>
                </a:cubicBezTo>
                <a:lnTo>
                  <a:pt x="0" y="55466"/>
                </a:lnTo>
                <a:cubicBezTo>
                  <a:pt x="0" y="24833"/>
                  <a:pt x="24833" y="0"/>
                  <a:pt x="55466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pl-PL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</a:p>
        </p:txBody>
      </p:sp>
      <p:sp>
        <p:nvSpPr>
          <p:cNvPr id="25" name="Text Placeholder 47">
            <a:extLst>
              <a:ext uri="{FF2B5EF4-FFF2-40B4-BE49-F238E27FC236}">
                <a16:creationId xmlns:a16="http://schemas.microsoft.com/office/drawing/2014/main" id="{D0CFEF48-07D6-43F7-87F3-3879962F9A3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5937" y="3260904"/>
            <a:ext cx="5543551" cy="387414"/>
          </a:xfrm>
          <a:prstGeom prst="roundRect">
            <a:avLst>
              <a:gd name="adj" fmla="val 12569"/>
            </a:avLst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2E2D4C7-D438-4EF8-99F3-5CE7103453F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15936" y="3269434"/>
            <a:ext cx="5543552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79FF6EBB-5922-46C4-A7CE-ED0EB114C265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132512" y="908050"/>
            <a:ext cx="5543551" cy="2739053"/>
          </a:xfrm>
          <a:custGeom>
            <a:avLst/>
            <a:gdLst>
              <a:gd name="connsiteX0" fmla="*/ 55466 w 5543551"/>
              <a:gd name="connsiteY0" fmla="*/ 0 h 2739053"/>
              <a:gd name="connsiteX1" fmla="*/ 5488085 w 5543551"/>
              <a:gd name="connsiteY1" fmla="*/ 0 h 2739053"/>
              <a:gd name="connsiteX2" fmla="*/ 5543551 w 5543551"/>
              <a:gd name="connsiteY2" fmla="*/ 55466 h 2739053"/>
              <a:gd name="connsiteX3" fmla="*/ 5543551 w 5543551"/>
              <a:gd name="connsiteY3" fmla="*/ 2683587 h 2739053"/>
              <a:gd name="connsiteX4" fmla="*/ 5488085 w 5543551"/>
              <a:gd name="connsiteY4" fmla="*/ 2739053 h 2739053"/>
              <a:gd name="connsiteX5" fmla="*/ 55466 w 5543551"/>
              <a:gd name="connsiteY5" fmla="*/ 2739053 h 2739053"/>
              <a:gd name="connsiteX6" fmla="*/ 0 w 5543551"/>
              <a:gd name="connsiteY6" fmla="*/ 2683587 h 2739053"/>
              <a:gd name="connsiteX7" fmla="*/ 0 w 5543551"/>
              <a:gd name="connsiteY7" fmla="*/ 55466 h 2739053"/>
              <a:gd name="connsiteX8" fmla="*/ 55466 w 5543551"/>
              <a:gd name="connsiteY8" fmla="*/ 0 h 2739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2739053">
                <a:moveTo>
                  <a:pt x="55466" y="0"/>
                </a:moveTo>
                <a:lnTo>
                  <a:pt x="5488085" y="0"/>
                </a:lnTo>
                <a:cubicBezTo>
                  <a:pt x="5518718" y="0"/>
                  <a:pt x="5543551" y="24833"/>
                  <a:pt x="5543551" y="55466"/>
                </a:cubicBezTo>
                <a:lnTo>
                  <a:pt x="5543551" y="2683587"/>
                </a:lnTo>
                <a:cubicBezTo>
                  <a:pt x="5543551" y="2714220"/>
                  <a:pt x="5518718" y="2739053"/>
                  <a:pt x="5488085" y="2739053"/>
                </a:cubicBezTo>
                <a:lnTo>
                  <a:pt x="55466" y="2739053"/>
                </a:lnTo>
                <a:cubicBezTo>
                  <a:pt x="24833" y="2739053"/>
                  <a:pt x="0" y="2714220"/>
                  <a:pt x="0" y="2683587"/>
                </a:cubicBezTo>
                <a:lnTo>
                  <a:pt x="0" y="55466"/>
                </a:lnTo>
                <a:cubicBezTo>
                  <a:pt x="0" y="24833"/>
                  <a:pt x="24833" y="0"/>
                  <a:pt x="55466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pl-PL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</a:p>
        </p:txBody>
      </p:sp>
      <p:sp>
        <p:nvSpPr>
          <p:cNvPr id="27" name="Text Placeholder 47">
            <a:extLst>
              <a:ext uri="{FF2B5EF4-FFF2-40B4-BE49-F238E27FC236}">
                <a16:creationId xmlns:a16="http://schemas.microsoft.com/office/drawing/2014/main" id="{28DCE3CD-714A-4CA5-A68C-083CDEEC19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32512" y="3259688"/>
            <a:ext cx="5543551" cy="387414"/>
          </a:xfrm>
          <a:prstGeom prst="roundRect">
            <a:avLst>
              <a:gd name="adj" fmla="val 12569"/>
            </a:avLst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6899828-9CC8-4902-96D7-5E5F6B74370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132511" y="3268218"/>
            <a:ext cx="5543552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ACE04B4E-F642-49F1-877B-A64AC8CBD5F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5936" y="3717605"/>
            <a:ext cx="5543551" cy="2739053"/>
          </a:xfrm>
          <a:custGeom>
            <a:avLst/>
            <a:gdLst>
              <a:gd name="connsiteX0" fmla="*/ 55466 w 5543551"/>
              <a:gd name="connsiteY0" fmla="*/ 0 h 2739053"/>
              <a:gd name="connsiteX1" fmla="*/ 5488085 w 5543551"/>
              <a:gd name="connsiteY1" fmla="*/ 0 h 2739053"/>
              <a:gd name="connsiteX2" fmla="*/ 5543551 w 5543551"/>
              <a:gd name="connsiteY2" fmla="*/ 55466 h 2739053"/>
              <a:gd name="connsiteX3" fmla="*/ 5543551 w 5543551"/>
              <a:gd name="connsiteY3" fmla="*/ 2683587 h 2739053"/>
              <a:gd name="connsiteX4" fmla="*/ 5488085 w 5543551"/>
              <a:gd name="connsiteY4" fmla="*/ 2739053 h 2739053"/>
              <a:gd name="connsiteX5" fmla="*/ 55466 w 5543551"/>
              <a:gd name="connsiteY5" fmla="*/ 2739053 h 2739053"/>
              <a:gd name="connsiteX6" fmla="*/ 0 w 5543551"/>
              <a:gd name="connsiteY6" fmla="*/ 2683587 h 2739053"/>
              <a:gd name="connsiteX7" fmla="*/ 0 w 5543551"/>
              <a:gd name="connsiteY7" fmla="*/ 55466 h 2739053"/>
              <a:gd name="connsiteX8" fmla="*/ 55466 w 5543551"/>
              <a:gd name="connsiteY8" fmla="*/ 0 h 2739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2739053">
                <a:moveTo>
                  <a:pt x="55466" y="0"/>
                </a:moveTo>
                <a:lnTo>
                  <a:pt x="5488085" y="0"/>
                </a:lnTo>
                <a:cubicBezTo>
                  <a:pt x="5518718" y="0"/>
                  <a:pt x="5543551" y="24833"/>
                  <a:pt x="5543551" y="55466"/>
                </a:cubicBezTo>
                <a:lnTo>
                  <a:pt x="5543551" y="2683587"/>
                </a:lnTo>
                <a:cubicBezTo>
                  <a:pt x="5543551" y="2714220"/>
                  <a:pt x="5518718" y="2739053"/>
                  <a:pt x="5488085" y="2739053"/>
                </a:cubicBezTo>
                <a:lnTo>
                  <a:pt x="55466" y="2739053"/>
                </a:lnTo>
                <a:cubicBezTo>
                  <a:pt x="24833" y="2739053"/>
                  <a:pt x="0" y="2714220"/>
                  <a:pt x="0" y="2683587"/>
                </a:cubicBezTo>
                <a:lnTo>
                  <a:pt x="0" y="55466"/>
                </a:lnTo>
                <a:cubicBezTo>
                  <a:pt x="0" y="24833"/>
                  <a:pt x="24833" y="0"/>
                  <a:pt x="55466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pl-PL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</a:p>
        </p:txBody>
      </p:sp>
      <p:sp>
        <p:nvSpPr>
          <p:cNvPr id="35" name="Text Placeholder 47">
            <a:extLst>
              <a:ext uri="{FF2B5EF4-FFF2-40B4-BE49-F238E27FC236}">
                <a16:creationId xmlns:a16="http://schemas.microsoft.com/office/drawing/2014/main" id="{4524366A-7B8C-4A07-9D8C-5093782A0D3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5936" y="6069243"/>
            <a:ext cx="5543551" cy="387414"/>
          </a:xfrm>
          <a:prstGeom prst="roundRect">
            <a:avLst>
              <a:gd name="adj" fmla="val 12569"/>
            </a:avLst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5F68A78-099B-4A99-A780-6866F7B53B19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515935" y="6077773"/>
            <a:ext cx="5543552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FB9684CE-A536-4C97-BAA4-3D3BCF385756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132511" y="3716389"/>
            <a:ext cx="5543551" cy="2739053"/>
          </a:xfrm>
          <a:custGeom>
            <a:avLst/>
            <a:gdLst>
              <a:gd name="connsiteX0" fmla="*/ 55466 w 5543551"/>
              <a:gd name="connsiteY0" fmla="*/ 0 h 2739053"/>
              <a:gd name="connsiteX1" fmla="*/ 5488085 w 5543551"/>
              <a:gd name="connsiteY1" fmla="*/ 0 h 2739053"/>
              <a:gd name="connsiteX2" fmla="*/ 5543551 w 5543551"/>
              <a:gd name="connsiteY2" fmla="*/ 55466 h 2739053"/>
              <a:gd name="connsiteX3" fmla="*/ 5543551 w 5543551"/>
              <a:gd name="connsiteY3" fmla="*/ 2683587 h 2739053"/>
              <a:gd name="connsiteX4" fmla="*/ 5488085 w 5543551"/>
              <a:gd name="connsiteY4" fmla="*/ 2739053 h 2739053"/>
              <a:gd name="connsiteX5" fmla="*/ 55466 w 5543551"/>
              <a:gd name="connsiteY5" fmla="*/ 2739053 h 2739053"/>
              <a:gd name="connsiteX6" fmla="*/ 0 w 5543551"/>
              <a:gd name="connsiteY6" fmla="*/ 2683587 h 2739053"/>
              <a:gd name="connsiteX7" fmla="*/ 0 w 5543551"/>
              <a:gd name="connsiteY7" fmla="*/ 55466 h 2739053"/>
              <a:gd name="connsiteX8" fmla="*/ 55466 w 5543551"/>
              <a:gd name="connsiteY8" fmla="*/ 0 h 2739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2739053">
                <a:moveTo>
                  <a:pt x="55466" y="0"/>
                </a:moveTo>
                <a:lnTo>
                  <a:pt x="5488085" y="0"/>
                </a:lnTo>
                <a:cubicBezTo>
                  <a:pt x="5518718" y="0"/>
                  <a:pt x="5543551" y="24833"/>
                  <a:pt x="5543551" y="55466"/>
                </a:cubicBezTo>
                <a:lnTo>
                  <a:pt x="5543551" y="2683587"/>
                </a:lnTo>
                <a:cubicBezTo>
                  <a:pt x="5543551" y="2714220"/>
                  <a:pt x="5518718" y="2739053"/>
                  <a:pt x="5488085" y="2739053"/>
                </a:cubicBezTo>
                <a:lnTo>
                  <a:pt x="55466" y="2739053"/>
                </a:lnTo>
                <a:cubicBezTo>
                  <a:pt x="24833" y="2739053"/>
                  <a:pt x="0" y="2714220"/>
                  <a:pt x="0" y="2683587"/>
                </a:cubicBezTo>
                <a:lnTo>
                  <a:pt x="0" y="55466"/>
                </a:lnTo>
                <a:cubicBezTo>
                  <a:pt x="0" y="24833"/>
                  <a:pt x="24833" y="0"/>
                  <a:pt x="55466" y="0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>
            <a:lvl1pPr marL="0" indent="0">
              <a:buNone/>
              <a:defRPr lang="pl-PL" sz="18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pl-PL"/>
              <a:t>Wstaw zdjęcie</a:t>
            </a:r>
          </a:p>
        </p:txBody>
      </p:sp>
      <p:sp>
        <p:nvSpPr>
          <p:cNvPr id="38" name="Text Placeholder 47">
            <a:extLst>
              <a:ext uri="{FF2B5EF4-FFF2-40B4-BE49-F238E27FC236}">
                <a16:creationId xmlns:a16="http://schemas.microsoft.com/office/drawing/2014/main" id="{3B3E6BBF-8A8A-41C1-A77D-7839945A87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2511" y="6068027"/>
            <a:ext cx="5543551" cy="387414"/>
          </a:xfrm>
          <a:prstGeom prst="roundRect">
            <a:avLst>
              <a:gd name="adj" fmla="val 12569"/>
            </a:avLst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>
            <a:noAutofit/>
          </a:bodyPr>
          <a:lstStyle>
            <a:lvl1pPr>
              <a:defRPr lang="en-US" sz="100" noProof="0" dirty="0">
                <a:noFill/>
              </a:defRPr>
            </a:lvl1pPr>
          </a:lstStyle>
          <a:p>
            <a:pPr marL="0" lvl="0" indent="0">
              <a:buNone/>
            </a:pPr>
            <a:r>
              <a:rPr lang="en-US" noProof="0"/>
              <a:t>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BA26FDE-C074-445A-A4FD-3DA6F9132F19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6132510" y="6076557"/>
            <a:ext cx="5543552" cy="370355"/>
          </a:xfrm>
        </p:spPr>
        <p:txBody>
          <a:bodyPr l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ytuł wykresu</a:t>
            </a:r>
            <a:endParaRPr 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11C996F-4017-464C-B891-4208CE93D2D6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72D0642-BB72-4800-97EE-D30CC8F202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64121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bject 299">
            <a:extLst>
              <a:ext uri="{FF2B5EF4-FFF2-40B4-BE49-F238E27FC236}">
                <a16:creationId xmlns:a16="http://schemas.microsoft.com/office/drawing/2014/main" id="{1CC8C4A9-6718-4A1B-9D7D-902A86F0A9B9}"/>
              </a:ext>
            </a:extLst>
          </p:cNvPr>
          <p:cNvSpPr/>
          <p:nvPr userDrawn="1"/>
        </p:nvSpPr>
        <p:spPr>
          <a:xfrm>
            <a:off x="4268788" y="908050"/>
            <a:ext cx="1790700" cy="1800225"/>
          </a:xfrm>
          <a:prstGeom prst="roundRect">
            <a:avLst>
              <a:gd name="adj" fmla="val 30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object 299">
            <a:extLst>
              <a:ext uri="{FF2B5EF4-FFF2-40B4-BE49-F238E27FC236}">
                <a16:creationId xmlns:a16="http://schemas.microsoft.com/office/drawing/2014/main" id="{D5F2ED96-CB1C-4361-889C-793296798D84}"/>
              </a:ext>
            </a:extLst>
          </p:cNvPr>
          <p:cNvSpPr/>
          <p:nvPr userDrawn="1"/>
        </p:nvSpPr>
        <p:spPr>
          <a:xfrm>
            <a:off x="9885365" y="908050"/>
            <a:ext cx="1790700" cy="1800225"/>
          </a:xfrm>
          <a:prstGeom prst="roundRect">
            <a:avLst>
              <a:gd name="adj" fmla="val 301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EB73352F-6767-4E2C-8826-674E1EAE140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68788" y="908051"/>
            <a:ext cx="1790700" cy="1800225"/>
          </a:xfrm>
          <a:custGeom>
            <a:avLst/>
            <a:gdLst>
              <a:gd name="connsiteX0" fmla="*/ 54025 w 1790700"/>
              <a:gd name="connsiteY0" fmla="*/ 0 h 1800225"/>
              <a:gd name="connsiteX1" fmla="*/ 1736675 w 1790700"/>
              <a:gd name="connsiteY1" fmla="*/ 0 h 1800225"/>
              <a:gd name="connsiteX2" fmla="*/ 1790700 w 1790700"/>
              <a:gd name="connsiteY2" fmla="*/ 54025 h 1800225"/>
              <a:gd name="connsiteX3" fmla="*/ 1790700 w 1790700"/>
              <a:gd name="connsiteY3" fmla="*/ 1746200 h 1800225"/>
              <a:gd name="connsiteX4" fmla="*/ 1736675 w 1790700"/>
              <a:gd name="connsiteY4" fmla="*/ 1800225 h 1800225"/>
              <a:gd name="connsiteX5" fmla="*/ 54025 w 1790700"/>
              <a:gd name="connsiteY5" fmla="*/ 1800225 h 1800225"/>
              <a:gd name="connsiteX6" fmla="*/ 0 w 1790700"/>
              <a:gd name="connsiteY6" fmla="*/ 1746200 h 1800225"/>
              <a:gd name="connsiteX7" fmla="*/ 0 w 1790700"/>
              <a:gd name="connsiteY7" fmla="*/ 54025 h 1800225"/>
              <a:gd name="connsiteX8" fmla="*/ 54025 w 1790700"/>
              <a:gd name="connsiteY8" fmla="*/ 0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0700" h="1800225">
                <a:moveTo>
                  <a:pt x="54025" y="0"/>
                </a:moveTo>
                <a:lnTo>
                  <a:pt x="1736675" y="0"/>
                </a:lnTo>
                <a:cubicBezTo>
                  <a:pt x="1766512" y="0"/>
                  <a:pt x="1790700" y="24188"/>
                  <a:pt x="1790700" y="54025"/>
                </a:cubicBezTo>
                <a:lnTo>
                  <a:pt x="1790700" y="1746200"/>
                </a:lnTo>
                <a:cubicBezTo>
                  <a:pt x="1790700" y="1776037"/>
                  <a:pt x="1766512" y="1800225"/>
                  <a:pt x="1736675" y="1800225"/>
                </a:cubicBezTo>
                <a:lnTo>
                  <a:pt x="54025" y="1800225"/>
                </a:lnTo>
                <a:cubicBezTo>
                  <a:pt x="24188" y="1800225"/>
                  <a:pt x="0" y="1776037"/>
                  <a:pt x="0" y="1746200"/>
                </a:cubicBezTo>
                <a:lnTo>
                  <a:pt x="0" y="54025"/>
                </a:lnTo>
                <a:cubicBezTo>
                  <a:pt x="0" y="24188"/>
                  <a:pt x="24188" y="0"/>
                  <a:pt x="54025" y="0"/>
                </a:cubicBezTo>
                <a:close/>
              </a:path>
            </a:pathLst>
          </a:custGeom>
        </p:spPr>
        <p:txBody>
          <a:bodyPr wrap="square" lIns="144000" tIns="144000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zdjęcie</a:t>
            </a:r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70A8EC60-9DDC-4386-8A39-542E1013DBC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885365" y="908051"/>
            <a:ext cx="1790700" cy="1800225"/>
          </a:xfrm>
          <a:custGeom>
            <a:avLst/>
            <a:gdLst>
              <a:gd name="connsiteX0" fmla="*/ 54025 w 1790700"/>
              <a:gd name="connsiteY0" fmla="*/ 0 h 1800225"/>
              <a:gd name="connsiteX1" fmla="*/ 1736675 w 1790700"/>
              <a:gd name="connsiteY1" fmla="*/ 0 h 1800225"/>
              <a:gd name="connsiteX2" fmla="*/ 1790700 w 1790700"/>
              <a:gd name="connsiteY2" fmla="*/ 54025 h 1800225"/>
              <a:gd name="connsiteX3" fmla="*/ 1790700 w 1790700"/>
              <a:gd name="connsiteY3" fmla="*/ 1746200 h 1800225"/>
              <a:gd name="connsiteX4" fmla="*/ 1736675 w 1790700"/>
              <a:gd name="connsiteY4" fmla="*/ 1800225 h 1800225"/>
              <a:gd name="connsiteX5" fmla="*/ 54025 w 1790700"/>
              <a:gd name="connsiteY5" fmla="*/ 1800225 h 1800225"/>
              <a:gd name="connsiteX6" fmla="*/ 0 w 1790700"/>
              <a:gd name="connsiteY6" fmla="*/ 1746200 h 1800225"/>
              <a:gd name="connsiteX7" fmla="*/ 0 w 1790700"/>
              <a:gd name="connsiteY7" fmla="*/ 54025 h 1800225"/>
              <a:gd name="connsiteX8" fmla="*/ 54025 w 1790700"/>
              <a:gd name="connsiteY8" fmla="*/ 0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0700" h="1800225">
                <a:moveTo>
                  <a:pt x="54025" y="0"/>
                </a:moveTo>
                <a:lnTo>
                  <a:pt x="1736675" y="0"/>
                </a:lnTo>
                <a:cubicBezTo>
                  <a:pt x="1766512" y="0"/>
                  <a:pt x="1790700" y="24188"/>
                  <a:pt x="1790700" y="54025"/>
                </a:cubicBezTo>
                <a:lnTo>
                  <a:pt x="1790700" y="1746200"/>
                </a:lnTo>
                <a:cubicBezTo>
                  <a:pt x="1790700" y="1776037"/>
                  <a:pt x="1766512" y="1800225"/>
                  <a:pt x="1736675" y="1800225"/>
                </a:cubicBezTo>
                <a:lnTo>
                  <a:pt x="54025" y="1800225"/>
                </a:lnTo>
                <a:cubicBezTo>
                  <a:pt x="24188" y="1800225"/>
                  <a:pt x="0" y="1776037"/>
                  <a:pt x="0" y="1746200"/>
                </a:cubicBezTo>
                <a:lnTo>
                  <a:pt x="0" y="54025"/>
                </a:lnTo>
                <a:cubicBezTo>
                  <a:pt x="0" y="24188"/>
                  <a:pt x="24188" y="0"/>
                  <a:pt x="54025" y="0"/>
                </a:cubicBezTo>
                <a:close/>
              </a:path>
            </a:pathLst>
          </a:custGeom>
        </p:spPr>
        <p:txBody>
          <a:bodyPr wrap="square" lIns="144000" tIns="144000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zdjęcie</a:t>
            </a:r>
          </a:p>
        </p:txBody>
      </p:sp>
      <p:sp>
        <p:nvSpPr>
          <p:cNvPr id="51" name="object 299">
            <a:extLst>
              <a:ext uri="{FF2B5EF4-FFF2-40B4-BE49-F238E27FC236}">
                <a16:creationId xmlns:a16="http://schemas.microsoft.com/office/drawing/2014/main" id="{BAB767D8-D719-40F1-BDD1-5C9FAC0EDAD5}"/>
              </a:ext>
            </a:extLst>
          </p:cNvPr>
          <p:cNvSpPr/>
          <p:nvPr userDrawn="1"/>
        </p:nvSpPr>
        <p:spPr>
          <a:xfrm>
            <a:off x="515937" y="1844675"/>
            <a:ext cx="4140201" cy="3205163"/>
          </a:xfrm>
          <a:prstGeom prst="roundRect">
            <a:avLst>
              <a:gd name="adj" fmla="val 1802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2E2D4C7-D438-4EF8-99F3-5CE7103453F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76287" y="2060390"/>
            <a:ext cx="3574733" cy="370355"/>
          </a:xfrm>
        </p:spPr>
        <p:txBody>
          <a:bodyPr l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ek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02F4FA63-83A8-4AC1-AB3D-2550296746E7}"/>
              </a:ext>
            </a:extLst>
          </p:cNvPr>
          <p:cNvSpPr>
            <a:spLocks noGrp="1"/>
          </p:cNvSpPr>
          <p:nvPr>
            <p:ph type="tbl" sz="quarter" idx="24" hasCustomPrompt="1"/>
          </p:nvPr>
        </p:nvSpPr>
        <p:spPr>
          <a:xfrm>
            <a:off x="776287" y="2562225"/>
            <a:ext cx="3575485" cy="2281520"/>
          </a:xfrm>
        </p:spPr>
        <p:txBody>
          <a:bodyPr lIns="144000" tIns="144000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TABELĘ</a:t>
            </a:r>
          </a:p>
        </p:txBody>
      </p:sp>
      <p:sp>
        <p:nvSpPr>
          <p:cNvPr id="57" name="object 299">
            <a:extLst>
              <a:ext uri="{FF2B5EF4-FFF2-40B4-BE49-F238E27FC236}">
                <a16:creationId xmlns:a16="http://schemas.microsoft.com/office/drawing/2014/main" id="{952EE958-D7E9-4B66-BCE6-C67914D85B8B}"/>
              </a:ext>
            </a:extLst>
          </p:cNvPr>
          <p:cNvSpPr/>
          <p:nvPr userDrawn="1"/>
        </p:nvSpPr>
        <p:spPr>
          <a:xfrm>
            <a:off x="6132514" y="1844675"/>
            <a:ext cx="4140201" cy="3205163"/>
          </a:xfrm>
          <a:prstGeom prst="roundRect">
            <a:avLst>
              <a:gd name="adj" fmla="val 1802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2FAB3C68-3A88-49C9-AFC4-042D90B8213B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392864" y="2060390"/>
            <a:ext cx="3574733" cy="370355"/>
          </a:xfrm>
        </p:spPr>
        <p:txBody>
          <a:bodyPr l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ekst</a:t>
            </a:r>
          </a:p>
        </p:txBody>
      </p:sp>
      <p:sp>
        <p:nvSpPr>
          <p:cNvPr id="59" name="Table Placeholder 3">
            <a:extLst>
              <a:ext uri="{FF2B5EF4-FFF2-40B4-BE49-F238E27FC236}">
                <a16:creationId xmlns:a16="http://schemas.microsoft.com/office/drawing/2014/main" id="{373765A0-CC8A-43F7-9E9D-9B9722E69808}"/>
              </a:ext>
            </a:extLst>
          </p:cNvPr>
          <p:cNvSpPr>
            <a:spLocks noGrp="1"/>
          </p:cNvSpPr>
          <p:nvPr>
            <p:ph type="tbl" sz="quarter" idx="28" hasCustomPrompt="1"/>
          </p:nvPr>
        </p:nvSpPr>
        <p:spPr>
          <a:xfrm>
            <a:off x="6392864" y="2562225"/>
            <a:ext cx="3575485" cy="2281520"/>
          </a:xfrm>
        </p:spPr>
        <p:txBody>
          <a:bodyPr lIns="144000" tIns="144000"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pl-PL"/>
              <a:t>WSTAW TABELĘ</a:t>
            </a:r>
          </a:p>
        </p:txBody>
      </p:sp>
      <p:sp>
        <p:nvSpPr>
          <p:cNvPr id="30" name="object 299">
            <a:extLst>
              <a:ext uri="{FF2B5EF4-FFF2-40B4-BE49-F238E27FC236}">
                <a16:creationId xmlns:a16="http://schemas.microsoft.com/office/drawing/2014/main" id="{5C9E4300-9A95-4C17-B86E-D2721C997FE0}"/>
              </a:ext>
            </a:extLst>
          </p:cNvPr>
          <p:cNvSpPr/>
          <p:nvPr userDrawn="1"/>
        </p:nvSpPr>
        <p:spPr>
          <a:xfrm>
            <a:off x="515937" y="5121275"/>
            <a:ext cx="11160126" cy="1334117"/>
          </a:xfrm>
          <a:prstGeom prst="roundRect">
            <a:avLst>
              <a:gd name="adj" fmla="val 4167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F4992CA-6325-46C9-AEE7-3199B91CF94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76287" y="5603156"/>
            <a:ext cx="1776413" cy="370355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prowadź tekst</a:t>
            </a:r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09244008-1304-49F3-B062-F7DE93E6C589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E2EB23F-C74D-4C4D-982B-B97C59EB5C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9221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094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389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nagłówki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A69E87F-A4D9-405E-B69B-68B1575D2B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52592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abel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99">
            <a:extLst>
              <a:ext uri="{FF2B5EF4-FFF2-40B4-BE49-F238E27FC236}">
                <a16:creationId xmlns:a16="http://schemas.microsoft.com/office/drawing/2014/main" id="{88F7AD10-D2EB-480F-B3BD-78A8B461A8DB}"/>
              </a:ext>
            </a:extLst>
          </p:cNvPr>
          <p:cNvSpPr/>
          <p:nvPr userDrawn="1"/>
        </p:nvSpPr>
        <p:spPr>
          <a:xfrm>
            <a:off x="515937" y="908051"/>
            <a:ext cx="11160126" cy="5551220"/>
          </a:xfrm>
          <a:prstGeom prst="roundRect">
            <a:avLst>
              <a:gd name="adj" fmla="val 1390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Table Placeholder 4">
            <a:extLst>
              <a:ext uri="{FF2B5EF4-FFF2-40B4-BE49-F238E27FC236}">
                <a16:creationId xmlns:a16="http://schemas.microsoft.com/office/drawing/2014/main" id="{322DDFEF-8DFC-424B-B557-B8E6ECEACE2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515938" y="908049"/>
            <a:ext cx="11160125" cy="5551220"/>
          </a:xfrm>
        </p:spPr>
        <p:txBody>
          <a:bodyPr lIns="144000" tIns="144000"/>
          <a:lstStyle>
            <a:lvl1pPr marL="0" indent="0">
              <a:buNone/>
              <a:defRPr/>
            </a:lvl1pPr>
          </a:lstStyle>
          <a:p>
            <a:r>
              <a:rPr lang="pl-PL"/>
              <a:t>Wstaw tabelę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B521C726-BEF6-443D-8E89-998DDC1C106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DDFBCC-EC8F-49BF-8447-EEA86A74B2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61994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117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412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99">
            <a:extLst>
              <a:ext uri="{FF2B5EF4-FFF2-40B4-BE49-F238E27FC236}">
                <a16:creationId xmlns:a16="http://schemas.microsoft.com/office/drawing/2014/main" id="{0E3AA23A-8AAF-4E77-8C81-F68569376A85}"/>
              </a:ext>
            </a:extLst>
          </p:cNvPr>
          <p:cNvSpPr/>
          <p:nvPr userDrawn="1"/>
        </p:nvSpPr>
        <p:spPr>
          <a:xfrm>
            <a:off x="518935" y="908050"/>
            <a:ext cx="11160126" cy="393768"/>
          </a:xfrm>
          <a:prstGeom prst="roundRect">
            <a:avLst>
              <a:gd name="adj" fmla="val 14465"/>
            </a:avLst>
          </a:prstGeom>
          <a:solidFill>
            <a:schemeClr val="bg1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 fontScale="85000" lnSpcReduction="20000"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object 299">
            <a:extLst>
              <a:ext uri="{FF2B5EF4-FFF2-40B4-BE49-F238E27FC236}">
                <a16:creationId xmlns:a16="http://schemas.microsoft.com/office/drawing/2014/main" id="{6B7055F8-A28B-4F96-8D31-3583EAB709D3}"/>
              </a:ext>
            </a:extLst>
          </p:cNvPr>
          <p:cNvSpPr/>
          <p:nvPr userDrawn="1"/>
        </p:nvSpPr>
        <p:spPr>
          <a:xfrm>
            <a:off x="515937" y="1376365"/>
            <a:ext cx="5543551" cy="5082905"/>
          </a:xfrm>
          <a:prstGeom prst="roundRect">
            <a:avLst>
              <a:gd name="adj" fmla="val 1484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36" name="object 299">
            <a:extLst>
              <a:ext uri="{FF2B5EF4-FFF2-40B4-BE49-F238E27FC236}">
                <a16:creationId xmlns:a16="http://schemas.microsoft.com/office/drawing/2014/main" id="{0EE6F615-04D7-41BC-A4AF-8D2FBE5057AC}"/>
              </a:ext>
            </a:extLst>
          </p:cNvPr>
          <p:cNvSpPr/>
          <p:nvPr userDrawn="1"/>
        </p:nvSpPr>
        <p:spPr>
          <a:xfrm>
            <a:off x="6132512" y="1376365"/>
            <a:ext cx="5543551" cy="5082905"/>
          </a:xfrm>
          <a:prstGeom prst="roundRect">
            <a:avLst>
              <a:gd name="adj" fmla="val 1484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42" name="Content Placeholder 41">
            <a:extLst>
              <a:ext uri="{FF2B5EF4-FFF2-40B4-BE49-F238E27FC236}">
                <a16:creationId xmlns:a16="http://schemas.microsoft.com/office/drawing/2014/main" id="{01C22DBF-8B28-4B80-8BE1-3EE7A0C35E4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32513" y="1376366"/>
            <a:ext cx="5543551" cy="5082905"/>
          </a:xfrm>
          <a:custGeom>
            <a:avLst/>
            <a:gdLst>
              <a:gd name="connsiteX0" fmla="*/ 75430 w 5543551"/>
              <a:gd name="connsiteY0" fmla="*/ 0 h 5082905"/>
              <a:gd name="connsiteX1" fmla="*/ 5468121 w 5543551"/>
              <a:gd name="connsiteY1" fmla="*/ 0 h 5082905"/>
              <a:gd name="connsiteX2" fmla="*/ 5543551 w 5543551"/>
              <a:gd name="connsiteY2" fmla="*/ 75430 h 5082905"/>
              <a:gd name="connsiteX3" fmla="*/ 5543551 w 5543551"/>
              <a:gd name="connsiteY3" fmla="*/ 5007475 h 5082905"/>
              <a:gd name="connsiteX4" fmla="*/ 5468121 w 5543551"/>
              <a:gd name="connsiteY4" fmla="*/ 5082905 h 5082905"/>
              <a:gd name="connsiteX5" fmla="*/ 75430 w 5543551"/>
              <a:gd name="connsiteY5" fmla="*/ 5082905 h 5082905"/>
              <a:gd name="connsiteX6" fmla="*/ 0 w 5543551"/>
              <a:gd name="connsiteY6" fmla="*/ 5007475 h 5082905"/>
              <a:gd name="connsiteX7" fmla="*/ 0 w 5543551"/>
              <a:gd name="connsiteY7" fmla="*/ 75430 h 5082905"/>
              <a:gd name="connsiteX8" fmla="*/ 75430 w 5543551"/>
              <a:gd name="connsiteY8" fmla="*/ 0 h 5082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3551" h="5082905">
                <a:moveTo>
                  <a:pt x="75430" y="0"/>
                </a:moveTo>
                <a:lnTo>
                  <a:pt x="5468121" y="0"/>
                </a:lnTo>
                <a:cubicBezTo>
                  <a:pt x="5509780" y="0"/>
                  <a:pt x="5543551" y="33771"/>
                  <a:pt x="5543551" y="75430"/>
                </a:cubicBezTo>
                <a:lnTo>
                  <a:pt x="5543551" y="5007475"/>
                </a:lnTo>
                <a:cubicBezTo>
                  <a:pt x="5543551" y="5049134"/>
                  <a:pt x="5509780" y="5082905"/>
                  <a:pt x="5468121" y="5082905"/>
                </a:cubicBezTo>
                <a:lnTo>
                  <a:pt x="75430" y="5082905"/>
                </a:lnTo>
                <a:cubicBezTo>
                  <a:pt x="33771" y="5082905"/>
                  <a:pt x="0" y="5049134"/>
                  <a:pt x="0" y="5007475"/>
                </a:cubicBezTo>
                <a:lnTo>
                  <a:pt x="0" y="75430"/>
                </a:lnTo>
                <a:cubicBezTo>
                  <a:pt x="0" y="33771"/>
                  <a:pt x="33771" y="0"/>
                  <a:pt x="75430" y="0"/>
                </a:cubicBezTo>
                <a:close/>
              </a:path>
            </a:pathLst>
          </a:custGeom>
        </p:spPr>
        <p:txBody>
          <a:bodyPr wrap="square" lIns="144000" tIns="144000" anchor="t">
            <a:noAutofit/>
          </a:bodyPr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pl-PL"/>
              <a:t>Wstaw obraz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4C26D55-BA9A-4916-80A7-994E101E1E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0959" y="919757"/>
            <a:ext cx="10890082" cy="370355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2A2ABCBE-9C7B-45CD-82F2-93A9DAB4D8E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83851" y="1548647"/>
            <a:ext cx="5207722" cy="4738340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16000" indent="-216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DA5258AB-0BF8-4B51-AE63-F2506EC56640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2B99F71-6186-4EF4-8979-E5ADA4F33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723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094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389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5" name="object 299">
            <a:extLst>
              <a:ext uri="{FF2B5EF4-FFF2-40B4-BE49-F238E27FC236}">
                <a16:creationId xmlns:a16="http://schemas.microsoft.com/office/drawing/2014/main" id="{799730B0-7C22-4647-9E31-33EC0BC9C144}"/>
              </a:ext>
            </a:extLst>
          </p:cNvPr>
          <p:cNvSpPr/>
          <p:nvPr userDrawn="1"/>
        </p:nvSpPr>
        <p:spPr>
          <a:xfrm>
            <a:off x="515937" y="1376365"/>
            <a:ext cx="11160126" cy="5082905"/>
          </a:xfrm>
          <a:prstGeom prst="roundRect">
            <a:avLst>
              <a:gd name="adj" fmla="val 1390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19F10A0-ABA1-4618-A58D-9F6D9B9185F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5938" y="919757"/>
            <a:ext cx="11159121" cy="370355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FF438B5-EE80-4064-AAE8-711CA80D186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83850" y="1548647"/>
            <a:ext cx="10803299" cy="4738340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16000" indent="-216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C5C23156-1DA1-4FC6-A2B1-D3634480A86F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290FC2-0312-499D-9BD4-4D9FD825BE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71476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094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389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 treścią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99">
            <a:extLst>
              <a:ext uri="{FF2B5EF4-FFF2-40B4-BE49-F238E27FC236}">
                <a16:creationId xmlns:a16="http://schemas.microsoft.com/office/drawing/2014/main" id="{799730B0-7C22-4647-9E31-33EC0BC9C144}"/>
              </a:ext>
            </a:extLst>
          </p:cNvPr>
          <p:cNvSpPr/>
          <p:nvPr userDrawn="1"/>
        </p:nvSpPr>
        <p:spPr>
          <a:xfrm>
            <a:off x="515937" y="908051"/>
            <a:ext cx="11160126" cy="5551220"/>
          </a:xfrm>
          <a:prstGeom prst="roundRect">
            <a:avLst>
              <a:gd name="adj" fmla="val 1390"/>
            </a:avLst>
          </a:prstGeom>
          <a:solidFill>
            <a:srgbClr val="FFFFFF"/>
          </a:solidFill>
          <a:effectLst>
            <a:outerShdw blurRad="304800" dir="3060000" sx="101000" sy="101000" algn="ctr" rotWithShape="0">
              <a:prstClr val="black">
                <a:alpha val="10000"/>
              </a:prstClr>
            </a:outerShdw>
          </a:effectLst>
        </p:spPr>
        <p:txBody>
          <a:bodyPr vert="horz" wrap="square" lIns="180000" tIns="180000" rIns="360000" bIns="0" rtlCol="0">
            <a:normAutofit/>
          </a:bodyPr>
          <a:lstStyle/>
          <a:p>
            <a: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FF438B5-EE80-4064-AAE8-711CA80D186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83850" y="1031615"/>
            <a:ext cx="10803299" cy="5255372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marL="216000" indent="-216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 algn="l">
              <a:spcBef>
                <a:spcPts val="60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4pPr>
            <a:lvl5pPr marL="918000" indent="-144000" algn="ctr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0D46278-B5FC-4245-81E6-AD0382EC5374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chemeClr val="bg1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Calibri" panose="020F0502020204030204" pitchFamily="34" charset="0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5BD49AE9-C81C-46A1-9BF8-EFE053951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5845" b="25845"/>
          <a:stretch/>
        </p:blipFill>
        <p:spPr>
          <a:xfrm>
            <a:off x="5848919" y="6524206"/>
            <a:ext cx="513781" cy="24733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3432113-CDF2-47C9-B659-2FCB14168E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8342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094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389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816" userDrawn="1">
          <p15:clr>
            <a:srgbClr val="FBAE40"/>
          </p15:clr>
        </p15:guide>
        <p15:guide id="30" orient="horz" pos="3770" userDrawn="1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AFF2EB9-1395-41FE-871E-504CAFCD796A}"/>
              </a:ext>
            </a:extLst>
          </p:cNvPr>
          <p:cNvSpPr/>
          <p:nvPr userDrawn="1"/>
        </p:nvSpPr>
        <p:spPr>
          <a:xfrm>
            <a:off x="4940060" y="6202392"/>
            <a:ext cx="7251940" cy="6556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>
              <a:latin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4007126-7D0E-478B-B309-0A3CDA62F4B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B816B80-1545-4BA7-B23F-84BE9F1B7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 algn="r"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8352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094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389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końcow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C903EF2-4873-4FDD-AE7A-F9C86E95DD89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3F8841-CEBC-49E6-9876-63BDAF4E33D6}"/>
              </a:ext>
            </a:extLst>
          </p:cNvPr>
          <p:cNvSpPr txBox="1"/>
          <p:nvPr userDrawn="1"/>
        </p:nvSpPr>
        <p:spPr>
          <a:xfrm>
            <a:off x="3440981" y="2320500"/>
            <a:ext cx="5310038" cy="1015663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0" indent="0" algn="ctr">
              <a:buNone/>
            </a:pPr>
            <a:r>
              <a:rPr lang="pl-PL" sz="6000" b="1">
                <a:solidFill>
                  <a:schemeClr val="bg1"/>
                </a:solidFill>
                <a:latin typeface="Calibri" panose="020F0502020204030204" pitchFamily="34" charset="0"/>
              </a:rPr>
              <a:t>Dziękujemy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2E5C94D4-C490-44BA-8751-E070057EEF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3776" y="2827452"/>
            <a:ext cx="2511424" cy="250258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0BC6CE1-ADF9-4D8B-B2DF-DCFC14C411D8}"/>
              </a:ext>
            </a:extLst>
          </p:cNvPr>
          <p:cNvSpPr/>
          <p:nvPr userDrawn="1"/>
        </p:nvSpPr>
        <p:spPr>
          <a:xfrm>
            <a:off x="4940060" y="6202392"/>
            <a:ext cx="7251940" cy="6556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err="1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7313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>
          <p15:clr>
            <a:srgbClr val="5ACBF0"/>
          </p15:clr>
        </p15:guide>
        <p15:guide id="6" orient="horz" pos="4065">
          <p15:clr>
            <a:srgbClr val="5ACBF0"/>
          </p15:clr>
        </p15:guide>
        <p15:guide id="7" pos="325">
          <p15:clr>
            <a:srgbClr val="5ACBF0"/>
          </p15:clr>
        </p15:guide>
        <p15:guide id="8" pos="7355">
          <p15:clr>
            <a:srgbClr val="5ACBF0"/>
          </p15:clr>
        </p15:guide>
        <p15:guide id="9" orient="horz" pos="1162">
          <p15:clr>
            <a:srgbClr val="FBAE40"/>
          </p15:clr>
        </p15:guide>
        <p15:guide id="10" orient="horz" pos="1094">
          <p15:clr>
            <a:srgbClr val="FBAE40"/>
          </p15:clr>
        </p15:guide>
        <p15:guide id="11" orient="horz" pos="1457">
          <p15:clr>
            <a:srgbClr val="FBAE40"/>
          </p15:clr>
        </p15:guide>
        <p15:guide id="12" orient="horz" pos="1389">
          <p15:clr>
            <a:srgbClr val="FBAE40"/>
          </p15:clr>
        </p15:guide>
        <p15:guide id="13" orient="horz" pos="867">
          <p15:clr>
            <a:srgbClr val="FBAE40"/>
          </p15:clr>
        </p15:guide>
        <p15:guide id="14" orient="horz" pos="822">
          <p15:clr>
            <a:srgbClr val="FBAE40"/>
          </p15:clr>
        </p15:guide>
        <p15:guide id="15" orient="horz" pos="1752">
          <p15:clr>
            <a:srgbClr val="FBAE40"/>
          </p15:clr>
        </p15:guide>
        <p15:guide id="16" orient="horz" pos="1706">
          <p15:clr>
            <a:srgbClr val="FBAE40"/>
          </p15:clr>
        </p15:guide>
        <p15:guide id="17" orient="horz" pos="2047">
          <p15:clr>
            <a:srgbClr val="FBAE40"/>
          </p15:clr>
        </p15:guide>
        <p15:guide id="18" orient="horz" pos="2001">
          <p15:clr>
            <a:srgbClr val="FBAE40"/>
          </p15:clr>
        </p15:guide>
        <p15:guide id="19" orient="horz" pos="2341">
          <p15:clr>
            <a:srgbClr val="FBAE40"/>
          </p15:clr>
        </p15:guide>
        <p15:guide id="20" orient="horz" pos="2296">
          <p15:clr>
            <a:srgbClr val="FBAE40"/>
          </p15:clr>
        </p15:guide>
        <p15:guide id="21" orient="horz" pos="2636">
          <p15:clr>
            <a:srgbClr val="FBAE40"/>
          </p15:clr>
        </p15:guide>
        <p15:guide id="22" orient="horz" pos="2591">
          <p15:clr>
            <a:srgbClr val="FBAE40"/>
          </p15:clr>
        </p15:guide>
        <p15:guide id="23" orient="horz" pos="2931">
          <p15:clr>
            <a:srgbClr val="FBAE40"/>
          </p15:clr>
        </p15:guide>
        <p15:guide id="24" orient="horz" pos="2886">
          <p15:clr>
            <a:srgbClr val="FBAE40"/>
          </p15:clr>
        </p15:guide>
        <p15:guide id="25" orient="horz" pos="3181">
          <p15:clr>
            <a:srgbClr val="FBAE40"/>
          </p15:clr>
        </p15:guide>
        <p15:guide id="26" orient="horz" pos="3226">
          <p15:clr>
            <a:srgbClr val="FBAE40"/>
          </p15:clr>
        </p15:guide>
        <p15:guide id="27" orient="horz" pos="3521">
          <p15:clr>
            <a:srgbClr val="FBAE40"/>
          </p15:clr>
        </p15:guide>
        <p15:guide id="28" orient="horz" pos="3475">
          <p15:clr>
            <a:srgbClr val="FBAE40"/>
          </p15:clr>
        </p15:guide>
        <p15:guide id="29" orient="horz" pos="3770">
          <p15:clr>
            <a:srgbClr val="FBAE40"/>
          </p15:clr>
        </p15:guide>
        <p15:guide id="30" orient="horz" pos="3816">
          <p15:clr>
            <a:srgbClr val="FBAE40"/>
          </p15:clr>
        </p15:guide>
        <p15:guide id="33" pos="4112">
          <p15:clr>
            <a:srgbClr val="FBAE40"/>
          </p15:clr>
        </p15:guide>
        <p15:guide id="34" pos="4158">
          <p15:clr>
            <a:srgbClr val="FBAE40"/>
          </p15:clr>
        </p15:guide>
        <p15:guide id="35" pos="4407">
          <p15:clr>
            <a:srgbClr val="FBAE40"/>
          </p15:clr>
        </p15:guide>
        <p15:guide id="36" pos="4452">
          <p15:clr>
            <a:srgbClr val="FBAE40"/>
          </p15:clr>
        </p15:guide>
        <p15:guide id="37" pos="4747">
          <p15:clr>
            <a:srgbClr val="FBAE40"/>
          </p15:clr>
        </p15:guide>
        <p15:guide id="38" pos="4702">
          <p15:clr>
            <a:srgbClr val="FBAE40"/>
          </p15:clr>
        </p15:guide>
        <p15:guide id="40" pos="4997">
          <p15:clr>
            <a:srgbClr val="FBAE40"/>
          </p15:clr>
        </p15:guide>
        <p15:guide id="41" pos="619">
          <p15:clr>
            <a:srgbClr val="FBAE40"/>
          </p15:clr>
        </p15:guide>
        <p15:guide id="42" pos="574">
          <p15:clr>
            <a:srgbClr val="FBAE40"/>
          </p15:clr>
        </p15:guide>
        <p15:guide id="43" pos="869">
          <p15:clr>
            <a:srgbClr val="FBAE40"/>
          </p15:clr>
        </p15:guide>
        <p15:guide id="44" pos="914">
          <p15:clr>
            <a:srgbClr val="FBAE40"/>
          </p15:clr>
        </p15:guide>
        <p15:guide id="45" pos="1209">
          <p15:clr>
            <a:srgbClr val="FBAE40"/>
          </p15:clr>
        </p15:guide>
        <p15:guide id="46" pos="1164">
          <p15:clr>
            <a:srgbClr val="FBAE40"/>
          </p15:clr>
        </p15:guide>
        <p15:guide id="47" pos="1504">
          <p15:clr>
            <a:srgbClr val="FBAE40"/>
          </p15:clr>
        </p15:guide>
        <p15:guide id="48" pos="1459">
          <p15:clr>
            <a:srgbClr val="FBAE40"/>
          </p15:clr>
        </p15:guide>
        <p15:guide id="49" pos="1799">
          <p15:clr>
            <a:srgbClr val="FBAE40"/>
          </p15:clr>
        </p15:guide>
        <p15:guide id="50" pos="1753">
          <p15:clr>
            <a:srgbClr val="FBAE40"/>
          </p15:clr>
        </p15:guide>
        <p15:guide id="51" pos="2094">
          <p15:clr>
            <a:srgbClr val="FBAE40"/>
          </p15:clr>
        </p15:guide>
        <p15:guide id="52" pos="2048">
          <p15:clr>
            <a:srgbClr val="FBAE40"/>
          </p15:clr>
        </p15:guide>
        <p15:guide id="53" pos="2343">
          <p15:clr>
            <a:srgbClr val="FBAE40"/>
          </p15:clr>
        </p15:guide>
        <p15:guide id="54" pos="2389">
          <p15:clr>
            <a:srgbClr val="FBAE40"/>
          </p15:clr>
        </p15:guide>
        <p15:guide id="55" pos="2683">
          <p15:clr>
            <a:srgbClr val="FBAE40"/>
          </p15:clr>
        </p15:guide>
        <p15:guide id="56" pos="2638">
          <p15:clr>
            <a:srgbClr val="FBAE40"/>
          </p15:clr>
        </p15:guide>
        <p15:guide id="57" pos="2933">
          <p15:clr>
            <a:srgbClr val="FBAE40"/>
          </p15:clr>
        </p15:guide>
        <p15:guide id="58" pos="2978">
          <p15:clr>
            <a:srgbClr val="FBAE40"/>
          </p15:clr>
        </p15:guide>
        <p15:guide id="59" pos="3228">
          <p15:clr>
            <a:srgbClr val="FBAE40"/>
          </p15:clr>
        </p15:guide>
        <p15:guide id="60" pos="3273">
          <p15:clr>
            <a:srgbClr val="FBAE40"/>
          </p15:clr>
        </p15:guide>
        <p15:guide id="61" pos="3568">
          <p15:clr>
            <a:srgbClr val="FBAE40"/>
          </p15:clr>
        </p15:guide>
        <p15:guide id="62" pos="3522">
          <p15:clr>
            <a:srgbClr val="FBAE40"/>
          </p15:clr>
        </p15:guide>
        <p15:guide id="63" pos="5337">
          <p15:clr>
            <a:srgbClr val="FBAE40"/>
          </p15:clr>
        </p15:guide>
        <p15:guide id="64" pos="5292">
          <p15:clr>
            <a:srgbClr val="FBAE40"/>
          </p15:clr>
        </p15:guide>
        <p15:guide id="66" pos="5586">
          <p15:clr>
            <a:srgbClr val="FBAE40"/>
          </p15:clr>
        </p15:guide>
        <p15:guide id="69" pos="5927">
          <p15:clr>
            <a:srgbClr val="FBAE40"/>
          </p15:clr>
        </p15:guide>
        <p15:guide id="70" pos="5881">
          <p15:clr>
            <a:srgbClr val="FBAE40"/>
          </p15:clr>
        </p15:guide>
        <p15:guide id="71" pos="6221">
          <p15:clr>
            <a:srgbClr val="FBAE40"/>
          </p15:clr>
        </p15:guide>
        <p15:guide id="72" pos="6176">
          <p15:clr>
            <a:srgbClr val="FBAE40"/>
          </p15:clr>
        </p15:guide>
        <p15:guide id="73" pos="6471">
          <p15:clr>
            <a:srgbClr val="FBAE40"/>
          </p15:clr>
        </p15:guide>
        <p15:guide id="74" pos="6516">
          <p15:clr>
            <a:srgbClr val="FBAE40"/>
          </p15:clr>
        </p15:guide>
        <p15:guide id="75" pos="6811">
          <p15:clr>
            <a:srgbClr val="FBAE40"/>
          </p15:clr>
        </p15:guide>
        <p15:guide id="76" pos="6766">
          <p15:clr>
            <a:srgbClr val="FBAE40"/>
          </p15:clr>
        </p15:guide>
        <p15:guide id="77" pos="5632">
          <p15:clr>
            <a:srgbClr val="FBAE40"/>
          </p15:clr>
        </p15:guide>
        <p15:guide id="78" pos="7106">
          <p15:clr>
            <a:srgbClr val="FBAE40"/>
          </p15:clr>
        </p15:guide>
        <p15:guide id="79" pos="7061">
          <p15:clr>
            <a:srgbClr val="FBAE40"/>
          </p15:clr>
        </p15:guide>
        <p15:guide id="80" pos="3817">
          <p15:clr>
            <a:srgbClr val="FBAE40"/>
          </p15:clr>
        </p15:guide>
        <p15:guide id="81" pos="5042">
          <p15:clr>
            <a:srgbClr val="FBAE40"/>
          </p15:clr>
        </p15:guide>
        <p15:guide id="84" pos="386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D077C1D1-74DB-4638-AA2C-6FC2ECED55F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25716" y="2499318"/>
            <a:ext cx="5123991" cy="2410635"/>
          </a:xfrm>
        </p:spPr>
        <p:txBody>
          <a:bodyPr lIns="0" rIns="0">
            <a:noAutofit/>
          </a:bodyPr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bg1"/>
                </a:solidFill>
              </a:defRPr>
            </a:lvl1pPr>
            <a:lvl2pPr marL="432000" indent="-198000">
              <a:lnSpc>
                <a:spcPct val="100000"/>
              </a:lnSpc>
              <a:spcBef>
                <a:spcPts val="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bg1"/>
                </a:solidFill>
              </a:defRPr>
            </a:lvl2pPr>
            <a:lvl3pPr marL="612000" indent="-162000">
              <a:lnSpc>
                <a:spcPct val="100000"/>
              </a:lnSpc>
              <a:spcBef>
                <a:spcPts val="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bg1"/>
                </a:solidFill>
              </a:defRPr>
            </a:lvl3pPr>
            <a:lvl4pPr marL="756000" indent="-144000">
              <a:lnSpc>
                <a:spcPct val="100000"/>
              </a:lnSpc>
              <a:spcBef>
                <a:spcPts val="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4pPr>
            <a:lvl5pPr marL="918000" indent="-144000">
              <a:lnSpc>
                <a:spcPct val="100000"/>
              </a:lnSpc>
              <a:spcBef>
                <a:spcPts val="0"/>
              </a:spcBef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pl-PL"/>
              <a:t>Wprowadź 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3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4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77E282-0BEB-4EB9-84DF-2F91B6A52133}"/>
              </a:ext>
            </a:extLst>
          </p:cNvPr>
          <p:cNvSpPr txBox="1"/>
          <p:nvPr userDrawn="1"/>
        </p:nvSpPr>
        <p:spPr>
          <a:xfrm>
            <a:off x="8482627" y="865711"/>
            <a:ext cx="332921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600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  <a:t>Każde </a:t>
            </a:r>
            <a:r>
              <a:rPr lang="pl-PL" sz="1600">
                <a:solidFill>
                  <a:schemeClr val="bg2"/>
                </a:solidFill>
                <a:effectLst/>
                <a:latin typeface="+mj-lt"/>
                <a:ea typeface="Calibri" panose="020F0502020204030204" pitchFamily="34" charset="0"/>
              </a:rPr>
              <a:t>nowo wstawiane pole tekstowe </a:t>
            </a:r>
            <a:r>
              <a:rPr lang="pl-PL" sz="1600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  <a:t>zawiera </a:t>
            </a:r>
            <a:br>
              <a:rPr lang="pl-PL" sz="1600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</a:br>
            <a:r>
              <a:rPr lang="pl-PL" sz="1600" i="1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  <a:t>„</a:t>
            </a:r>
            <a:r>
              <a:rPr lang="pl-PL" sz="1600" i="1" err="1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  <a:t>żabkowy</a:t>
            </a:r>
            <a:r>
              <a:rPr lang="pl-PL" sz="1600" i="1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  <a:t>” </a:t>
            </a:r>
            <a:r>
              <a:rPr lang="pl-PL" sz="1600" err="1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  <a:t>punktor</a:t>
            </a:r>
            <a:r>
              <a:rPr lang="pl-PL" sz="1600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  <a:t>. </a:t>
            </a:r>
          </a:p>
          <a:p>
            <a:endParaRPr lang="pl-PL" sz="1600" kern="1200">
              <a:solidFill>
                <a:schemeClr val="bg2"/>
              </a:solidFill>
              <a:effectLst/>
              <a:latin typeface="+mj-lt"/>
              <a:ea typeface="Calibri" panose="020F0502020204030204" pitchFamily="34" charset="0"/>
              <a:cs typeface="+mn-cs"/>
            </a:endParaRPr>
          </a:p>
          <a:p>
            <a:r>
              <a:rPr lang="pl-PL" sz="1600" kern="1200">
                <a:solidFill>
                  <a:schemeClr val="bg2"/>
                </a:solidFill>
                <a:effectLst/>
                <a:latin typeface="+mj-lt"/>
                <a:ea typeface="Calibri" panose="020F0502020204030204" pitchFamily="34" charset="0"/>
                <a:cs typeface="+mn-cs"/>
              </a:rPr>
              <a:t>Jeśli chcesz go usunąć </a:t>
            </a:r>
            <a:r>
              <a:rPr lang="pl-PL" sz="1600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  <a:t>– ustaw kursor tuż za nim i naciśnij na klawiaturze przycisk </a:t>
            </a:r>
            <a:r>
              <a:rPr lang="pl-PL" sz="1600" i="1" err="1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  <a:t>Backspace</a:t>
            </a:r>
            <a:r>
              <a:rPr lang="pl-PL" sz="1600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  <a:t>.</a:t>
            </a:r>
          </a:p>
        </p:txBody>
      </p:sp>
      <p:pic>
        <p:nvPicPr>
          <p:cNvPr id="21" name="Obraz 13">
            <a:extLst>
              <a:ext uri="{FF2B5EF4-FFF2-40B4-BE49-F238E27FC236}">
                <a16:creationId xmlns:a16="http://schemas.microsoft.com/office/drawing/2014/main" id="{AE30F885-5563-4851-B6C7-76C219966F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791" t="1585" r="15996" b="-1"/>
          <a:stretch/>
        </p:blipFill>
        <p:spPr>
          <a:xfrm>
            <a:off x="6401293" y="1004973"/>
            <a:ext cx="1910857" cy="1524981"/>
          </a:xfrm>
          <a:prstGeom prst="roundRect">
            <a:avLst>
              <a:gd name="adj" fmla="val 3566"/>
            </a:avLst>
          </a:prstGeom>
          <a:solidFill>
            <a:schemeClr val="bg1"/>
          </a:solidFill>
          <a:effectLst>
            <a:outerShdw blurRad="304800" dist="228600" dir="30600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22" name="Prostokąt: zaokrąglone rogi 14">
            <a:extLst>
              <a:ext uri="{FF2B5EF4-FFF2-40B4-BE49-F238E27FC236}">
                <a16:creationId xmlns:a16="http://schemas.microsoft.com/office/drawing/2014/main" id="{6265E4FD-A7DC-4010-A17E-085E3FD5459C}"/>
              </a:ext>
            </a:extLst>
          </p:cNvPr>
          <p:cNvSpPr/>
          <p:nvPr userDrawn="1"/>
        </p:nvSpPr>
        <p:spPr>
          <a:xfrm>
            <a:off x="6390499" y="2069555"/>
            <a:ext cx="222250" cy="186026"/>
          </a:xfrm>
          <a:prstGeom prst="roundRect">
            <a:avLst>
              <a:gd name="adj" fmla="val 2213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441B835-CF9D-4925-A24E-A9BBCDD90E0C}"/>
              </a:ext>
            </a:extLst>
          </p:cNvPr>
          <p:cNvSpPr/>
          <p:nvPr userDrawn="1"/>
        </p:nvSpPr>
        <p:spPr>
          <a:xfrm>
            <a:off x="515936" y="917470"/>
            <a:ext cx="5543550" cy="2736056"/>
          </a:xfrm>
          <a:prstGeom prst="roundRect">
            <a:avLst>
              <a:gd name="adj" fmla="val 1225"/>
            </a:avLst>
          </a:prstGeom>
          <a:solidFill>
            <a:schemeClr val="accent1"/>
          </a:solidFill>
          <a:ln w="952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pl-PL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4E97E6D9-53A5-40A0-A49C-796B5BEB60C8}"/>
              </a:ext>
            </a:extLst>
          </p:cNvPr>
          <p:cNvSpPr/>
          <p:nvPr userDrawn="1"/>
        </p:nvSpPr>
        <p:spPr>
          <a:xfrm>
            <a:off x="515936" y="3716338"/>
            <a:ext cx="5543550" cy="2736056"/>
          </a:xfrm>
          <a:prstGeom prst="roundRect">
            <a:avLst>
              <a:gd name="adj" fmla="val 1225"/>
            </a:avLst>
          </a:pr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pl-PL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CA29978-08D6-4723-8460-291D048A424F}"/>
              </a:ext>
            </a:extLst>
          </p:cNvPr>
          <p:cNvSpPr/>
          <p:nvPr userDrawn="1"/>
        </p:nvSpPr>
        <p:spPr>
          <a:xfrm>
            <a:off x="6132512" y="3724171"/>
            <a:ext cx="5543550" cy="2736056"/>
          </a:xfrm>
          <a:prstGeom prst="roundRect">
            <a:avLst>
              <a:gd name="adj" fmla="val 1225"/>
            </a:avLst>
          </a:prstGeom>
          <a:solidFill>
            <a:schemeClr val="bg1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pl-PL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302A341-0802-412D-93DC-23E31E42E318}"/>
              </a:ext>
            </a:extLst>
          </p:cNvPr>
          <p:cNvSpPr txBox="1"/>
          <p:nvPr userDrawn="1"/>
        </p:nvSpPr>
        <p:spPr>
          <a:xfrm>
            <a:off x="6295144" y="2860877"/>
            <a:ext cx="551669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600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  <a:t>By wybrać </a:t>
            </a:r>
            <a:r>
              <a:rPr lang="pl-PL" sz="1600">
                <a:solidFill>
                  <a:schemeClr val="bg2"/>
                </a:solidFill>
                <a:effectLst/>
                <a:latin typeface="+mj-lt"/>
                <a:ea typeface="Calibri" panose="020F0502020204030204" pitchFamily="34" charset="0"/>
              </a:rPr>
              <a:t>inny kolor </a:t>
            </a:r>
            <a:r>
              <a:rPr lang="pl-PL" sz="1600" err="1">
                <a:solidFill>
                  <a:schemeClr val="bg2"/>
                </a:solidFill>
                <a:effectLst/>
                <a:latin typeface="+mj-lt"/>
                <a:ea typeface="Calibri" panose="020F0502020204030204" pitchFamily="34" charset="0"/>
              </a:rPr>
              <a:t>punktora</a:t>
            </a:r>
            <a:r>
              <a:rPr lang="pl-PL" sz="1600">
                <a:solidFill>
                  <a:schemeClr val="bg2"/>
                </a:solidFill>
                <a:effectLst/>
                <a:latin typeface="+mj-lt"/>
                <a:ea typeface="Calibri" panose="020F0502020204030204" pitchFamily="34" charset="0"/>
              </a:rPr>
              <a:t> </a:t>
            </a:r>
            <a:r>
              <a:rPr lang="pl-PL" sz="1600">
                <a:solidFill>
                  <a:schemeClr val="bg2"/>
                </a:solidFill>
                <a:effectLst/>
                <a:latin typeface="+mn-lt"/>
                <a:ea typeface="Calibri" panose="020F0502020204030204" pitchFamily="34" charset="0"/>
              </a:rPr>
              <a:t>należy skopiować wybrane pole tekstowe z tego slajdu i pracować na nim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0019E39-A3B4-4367-85C6-EFB07407A5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9937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ze zdjęci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72001-26DD-4427-AA79-8A4E84749C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528" y="215900"/>
            <a:ext cx="8970960" cy="501650"/>
          </a:xfrm>
        </p:spPr>
        <p:txBody>
          <a:bodyPr lIns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ytuł</a:t>
            </a:r>
            <a:endParaRPr lang="en-GB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E7B091C-830F-4599-A9DE-384E078660E1}"/>
              </a:ext>
            </a:extLst>
          </p:cNvPr>
          <p:cNvSpPr/>
          <p:nvPr userDrawn="1"/>
        </p:nvSpPr>
        <p:spPr>
          <a:xfrm>
            <a:off x="518935" y="128654"/>
            <a:ext cx="21273" cy="650743"/>
          </a:xfrm>
          <a:custGeom>
            <a:avLst/>
            <a:gdLst>
              <a:gd name="connsiteX0" fmla="*/ 21293 w 21273"/>
              <a:gd name="connsiteY0" fmla="*/ 6338 h 650743"/>
              <a:gd name="connsiteX1" fmla="*/ 14975 w 21273"/>
              <a:gd name="connsiteY1" fmla="*/ 20 h 650743"/>
              <a:gd name="connsiteX2" fmla="*/ 6337 w 21273"/>
              <a:gd name="connsiteY2" fmla="*/ 20 h 650743"/>
              <a:gd name="connsiteX3" fmla="*/ 19 w 21273"/>
              <a:gd name="connsiteY3" fmla="*/ 6338 h 650743"/>
              <a:gd name="connsiteX4" fmla="*/ 19 w 21273"/>
              <a:gd name="connsiteY4" fmla="*/ 644446 h 650743"/>
              <a:gd name="connsiteX5" fmla="*/ 6337 w 21273"/>
              <a:gd name="connsiteY5" fmla="*/ 650764 h 650743"/>
              <a:gd name="connsiteX6" fmla="*/ 14975 w 21273"/>
              <a:gd name="connsiteY6" fmla="*/ 650764 h 650743"/>
              <a:gd name="connsiteX7" fmla="*/ 21293 w 21273"/>
              <a:gd name="connsiteY7" fmla="*/ 644446 h 65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273" h="650743">
                <a:moveTo>
                  <a:pt x="21293" y="6338"/>
                </a:moveTo>
                <a:cubicBezTo>
                  <a:pt x="21293" y="2858"/>
                  <a:pt x="18479" y="20"/>
                  <a:pt x="14975" y="20"/>
                </a:cubicBezTo>
                <a:lnTo>
                  <a:pt x="6337" y="20"/>
                </a:lnTo>
                <a:cubicBezTo>
                  <a:pt x="2857" y="20"/>
                  <a:pt x="19" y="2858"/>
                  <a:pt x="19" y="6338"/>
                </a:cubicBezTo>
                <a:lnTo>
                  <a:pt x="19" y="644446"/>
                </a:lnTo>
                <a:cubicBezTo>
                  <a:pt x="19" y="647927"/>
                  <a:pt x="2857" y="650764"/>
                  <a:pt x="6337" y="650764"/>
                </a:cubicBezTo>
                <a:lnTo>
                  <a:pt x="14975" y="650764"/>
                </a:lnTo>
                <a:cubicBezTo>
                  <a:pt x="18479" y="650764"/>
                  <a:pt x="21293" y="647927"/>
                  <a:pt x="21293" y="644446"/>
                </a:cubicBezTo>
                <a:close/>
              </a:path>
            </a:pathLst>
          </a:custGeom>
          <a:solidFill>
            <a:srgbClr val="00631E"/>
          </a:soli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5AD6CA3-817F-4021-B353-61702F8B076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18935" y="908050"/>
            <a:ext cx="11157128" cy="865189"/>
          </a:xfrm>
        </p:spPr>
        <p:txBody>
          <a:bodyPr lIns="0" rIns="0">
            <a:noAutofit/>
          </a:bodyPr>
          <a:lstStyle>
            <a:lvl1pPr marL="216000" indent="-216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800">
                <a:solidFill>
                  <a:schemeClr val="accent1"/>
                </a:solidFill>
              </a:defRPr>
            </a:lvl1pPr>
            <a:lvl2pPr marL="432000" indent="-198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600">
                <a:solidFill>
                  <a:schemeClr val="accent1"/>
                </a:solidFill>
              </a:defRPr>
            </a:lvl2pPr>
            <a:lvl3pPr marL="612000" indent="-162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076325" algn="l"/>
              </a:tabLst>
              <a:defRPr sz="1400">
                <a:solidFill>
                  <a:schemeClr val="accent1"/>
                </a:solidFill>
              </a:defRPr>
            </a:lvl3pPr>
            <a:lvl4pPr marL="756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accent1"/>
                </a:solidFill>
              </a:defRPr>
            </a:lvl4pPr>
            <a:lvl5pPr marL="918000" indent="-1440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1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2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3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  <a:p>
            <a:pPr lvl="4"/>
            <a:r>
              <a:rPr lang="en-US" err="1"/>
              <a:t>Wprowadź</a:t>
            </a:r>
            <a:r>
              <a:rPr lang="en-US"/>
              <a:t> </a:t>
            </a:r>
            <a:r>
              <a:rPr lang="en-US" err="1"/>
              <a:t>tekst</a:t>
            </a: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3C50EC0F-4342-48A3-92F2-71E8888147A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32514" y="1844675"/>
            <a:ext cx="5543549" cy="4608513"/>
          </a:xfrm>
          <a:prstGeom prst="roundRect">
            <a:avLst>
              <a:gd name="adj" fmla="val 2476"/>
            </a:avLst>
          </a:prstGeom>
          <a:solidFill>
            <a:srgbClr val="FFFFFF"/>
          </a:solidFill>
          <a:effectLst>
            <a:outerShdw blurRad="3048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180000" tIns="180000" rIns="360000" bIns="0" rtlCol="0">
            <a:normAutofit/>
          </a:bodyPr>
          <a:lstStyle>
            <a:lvl1pPr marL="0" indent="0" algn="l">
              <a:buNone/>
              <a:defRPr lang="en-GB" sz="180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pl-PL"/>
              <a:t>Wstaw zdjęcie</a:t>
            </a:r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5535430-249D-4115-96FB-C4C151BEBC4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936" y="6057900"/>
            <a:ext cx="5072239" cy="395288"/>
          </a:xfrm>
        </p:spPr>
        <p:txBody>
          <a:bodyPr lIns="0" tIns="36000" rIns="0" bIns="36000" anchor="b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Wstaw stopkę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AB194A7-BF38-42CE-8690-7C1AF34BF2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6064" y="6534000"/>
            <a:ext cx="360000" cy="216000"/>
          </a:xfrm>
          <a:prstGeom prst="rect">
            <a:avLst/>
          </a:prstGeom>
        </p:spPr>
        <p:txBody>
          <a:bodyPr lIns="0" rIns="0"/>
          <a:lstStyle>
            <a:lvl1pPr>
              <a:defRPr lang="en-GB" sz="900" smtClean="0"/>
            </a:lvl1pPr>
          </a:lstStyle>
          <a:p>
            <a:fld id="{A2371116-A950-4FB5-A8B3-9733F640CB3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48145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572" userDrawn="1">
          <p15:clr>
            <a:srgbClr val="5ACBF0"/>
          </p15:clr>
        </p15:guide>
        <p15:guide id="6" orient="horz" pos="4065" userDrawn="1">
          <p15:clr>
            <a:srgbClr val="5ACBF0"/>
          </p15:clr>
        </p15:guide>
        <p15:guide id="7" pos="325" userDrawn="1">
          <p15:clr>
            <a:srgbClr val="5ACBF0"/>
          </p15:clr>
        </p15:guide>
        <p15:guide id="8" pos="7355" userDrawn="1">
          <p15:clr>
            <a:srgbClr val="5ACBF0"/>
          </p15:clr>
        </p15:guide>
        <p15:guide id="9" orient="horz" pos="1162" userDrawn="1">
          <p15:clr>
            <a:srgbClr val="FBAE40"/>
          </p15:clr>
        </p15:guide>
        <p15:guide id="10" orient="horz" pos="1117" userDrawn="1">
          <p15:clr>
            <a:srgbClr val="FBAE40"/>
          </p15:clr>
        </p15:guide>
        <p15:guide id="11" orient="horz" pos="1457" userDrawn="1">
          <p15:clr>
            <a:srgbClr val="FBAE40"/>
          </p15:clr>
        </p15:guide>
        <p15:guide id="12" orient="horz" pos="1412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orient="horz" pos="822" userDrawn="1">
          <p15:clr>
            <a:srgbClr val="FBAE40"/>
          </p15:clr>
        </p15:guide>
        <p15:guide id="15" orient="horz" pos="1752" userDrawn="1">
          <p15:clr>
            <a:srgbClr val="FBAE40"/>
          </p15:clr>
        </p15:guide>
        <p15:guide id="16" orient="horz" pos="1706" userDrawn="1">
          <p15:clr>
            <a:srgbClr val="FBAE40"/>
          </p15:clr>
        </p15:guide>
        <p15:guide id="17" orient="horz" pos="2047" userDrawn="1">
          <p15:clr>
            <a:srgbClr val="FBAE40"/>
          </p15:clr>
        </p15:guide>
        <p15:guide id="18" orient="horz" pos="2001" userDrawn="1">
          <p15:clr>
            <a:srgbClr val="FBAE40"/>
          </p15:clr>
        </p15:guide>
        <p15:guide id="19" orient="horz" pos="2341" userDrawn="1">
          <p15:clr>
            <a:srgbClr val="FBAE40"/>
          </p15:clr>
        </p15:guide>
        <p15:guide id="20" orient="horz" pos="2296" userDrawn="1">
          <p15:clr>
            <a:srgbClr val="FBAE40"/>
          </p15:clr>
        </p15:guide>
        <p15:guide id="21" orient="horz" pos="2636" userDrawn="1">
          <p15:clr>
            <a:srgbClr val="FBAE40"/>
          </p15:clr>
        </p15:guide>
        <p15:guide id="22" orient="horz" pos="2591" userDrawn="1">
          <p15:clr>
            <a:srgbClr val="FBAE40"/>
          </p15:clr>
        </p15:guide>
        <p15:guide id="23" orient="horz" pos="2931" userDrawn="1">
          <p15:clr>
            <a:srgbClr val="FBAE40"/>
          </p15:clr>
        </p15:guide>
        <p15:guide id="24" orient="horz" pos="2886" userDrawn="1">
          <p15:clr>
            <a:srgbClr val="FBAE40"/>
          </p15:clr>
        </p15:guide>
        <p15:guide id="25" orient="horz" pos="3181" userDrawn="1">
          <p15:clr>
            <a:srgbClr val="FBAE40"/>
          </p15:clr>
        </p15:guide>
        <p15:guide id="26" orient="horz" pos="3226" userDrawn="1">
          <p15:clr>
            <a:srgbClr val="FBAE40"/>
          </p15:clr>
        </p15:guide>
        <p15:guide id="27" orient="horz" pos="3521" userDrawn="1">
          <p15:clr>
            <a:srgbClr val="FBAE40"/>
          </p15:clr>
        </p15:guide>
        <p15:guide id="28" orient="horz" pos="3475" userDrawn="1">
          <p15:clr>
            <a:srgbClr val="FBAE40"/>
          </p15:clr>
        </p15:guide>
        <p15:guide id="29" orient="horz" pos="3770" userDrawn="1">
          <p15:clr>
            <a:srgbClr val="FBAE40"/>
          </p15:clr>
        </p15:guide>
        <p15:guide id="30" orient="horz" pos="3816" userDrawn="1">
          <p15:clr>
            <a:srgbClr val="FBAE40"/>
          </p15:clr>
        </p15:guide>
        <p15:guide id="33" pos="4112" userDrawn="1">
          <p15:clr>
            <a:srgbClr val="FBAE40"/>
          </p15:clr>
        </p15:guide>
        <p15:guide id="34" pos="4158" userDrawn="1">
          <p15:clr>
            <a:srgbClr val="FBAE40"/>
          </p15:clr>
        </p15:guide>
        <p15:guide id="35" pos="4407" userDrawn="1">
          <p15:clr>
            <a:srgbClr val="FBAE40"/>
          </p15:clr>
        </p15:guide>
        <p15:guide id="36" pos="4452" userDrawn="1">
          <p15:clr>
            <a:srgbClr val="FBAE40"/>
          </p15:clr>
        </p15:guide>
        <p15:guide id="37" pos="4747" userDrawn="1">
          <p15:clr>
            <a:srgbClr val="FBAE40"/>
          </p15:clr>
        </p15:guide>
        <p15:guide id="38" pos="4702" userDrawn="1">
          <p15:clr>
            <a:srgbClr val="FBAE40"/>
          </p15:clr>
        </p15:guide>
        <p15:guide id="40" pos="4997" userDrawn="1">
          <p15:clr>
            <a:srgbClr val="FBAE40"/>
          </p15:clr>
        </p15:guide>
        <p15:guide id="41" pos="619" userDrawn="1">
          <p15:clr>
            <a:srgbClr val="FBAE40"/>
          </p15:clr>
        </p15:guide>
        <p15:guide id="42" pos="574" userDrawn="1">
          <p15:clr>
            <a:srgbClr val="FBAE40"/>
          </p15:clr>
        </p15:guide>
        <p15:guide id="43" pos="869" userDrawn="1">
          <p15:clr>
            <a:srgbClr val="FBAE40"/>
          </p15:clr>
        </p15:guide>
        <p15:guide id="44" pos="914" userDrawn="1">
          <p15:clr>
            <a:srgbClr val="FBAE40"/>
          </p15:clr>
        </p15:guide>
        <p15:guide id="45" pos="1209" userDrawn="1">
          <p15:clr>
            <a:srgbClr val="FBAE40"/>
          </p15:clr>
        </p15:guide>
        <p15:guide id="46" pos="1164" userDrawn="1">
          <p15:clr>
            <a:srgbClr val="FBAE40"/>
          </p15:clr>
        </p15:guide>
        <p15:guide id="47" pos="1504" userDrawn="1">
          <p15:clr>
            <a:srgbClr val="FBAE40"/>
          </p15:clr>
        </p15:guide>
        <p15:guide id="48" pos="1459" userDrawn="1">
          <p15:clr>
            <a:srgbClr val="FBAE40"/>
          </p15:clr>
        </p15:guide>
        <p15:guide id="49" pos="1799" userDrawn="1">
          <p15:clr>
            <a:srgbClr val="FBAE40"/>
          </p15:clr>
        </p15:guide>
        <p15:guide id="50" pos="1753" userDrawn="1">
          <p15:clr>
            <a:srgbClr val="FBAE40"/>
          </p15:clr>
        </p15:guide>
        <p15:guide id="51" pos="2094" userDrawn="1">
          <p15:clr>
            <a:srgbClr val="FBAE40"/>
          </p15:clr>
        </p15:guide>
        <p15:guide id="52" pos="2048" userDrawn="1">
          <p15:clr>
            <a:srgbClr val="FBAE40"/>
          </p15:clr>
        </p15:guide>
        <p15:guide id="53" pos="2343" userDrawn="1">
          <p15:clr>
            <a:srgbClr val="FBAE40"/>
          </p15:clr>
        </p15:guide>
        <p15:guide id="54" pos="2389" userDrawn="1">
          <p15:clr>
            <a:srgbClr val="FBAE40"/>
          </p15:clr>
        </p15:guide>
        <p15:guide id="55" pos="2683" userDrawn="1">
          <p15:clr>
            <a:srgbClr val="FBAE40"/>
          </p15:clr>
        </p15:guide>
        <p15:guide id="56" pos="2638" userDrawn="1">
          <p15:clr>
            <a:srgbClr val="FBAE40"/>
          </p15:clr>
        </p15:guide>
        <p15:guide id="57" pos="2933" userDrawn="1">
          <p15:clr>
            <a:srgbClr val="FBAE40"/>
          </p15:clr>
        </p15:guide>
        <p15:guide id="58" pos="2978" userDrawn="1">
          <p15:clr>
            <a:srgbClr val="FBAE40"/>
          </p15:clr>
        </p15:guide>
        <p15:guide id="59" pos="3228" userDrawn="1">
          <p15:clr>
            <a:srgbClr val="FBAE40"/>
          </p15:clr>
        </p15:guide>
        <p15:guide id="60" pos="3273" userDrawn="1">
          <p15:clr>
            <a:srgbClr val="FBAE40"/>
          </p15:clr>
        </p15:guide>
        <p15:guide id="61" pos="3568" userDrawn="1">
          <p15:clr>
            <a:srgbClr val="FBAE40"/>
          </p15:clr>
        </p15:guide>
        <p15:guide id="62" pos="3522" userDrawn="1">
          <p15:clr>
            <a:srgbClr val="FBAE40"/>
          </p15:clr>
        </p15:guide>
        <p15:guide id="63" pos="5337" userDrawn="1">
          <p15:clr>
            <a:srgbClr val="FBAE40"/>
          </p15:clr>
        </p15:guide>
        <p15:guide id="64" pos="5292" userDrawn="1">
          <p15:clr>
            <a:srgbClr val="FBAE40"/>
          </p15:clr>
        </p15:guide>
        <p15:guide id="66" pos="5586" userDrawn="1">
          <p15:clr>
            <a:srgbClr val="FBAE40"/>
          </p15:clr>
        </p15:guide>
        <p15:guide id="69" pos="5927" userDrawn="1">
          <p15:clr>
            <a:srgbClr val="FBAE40"/>
          </p15:clr>
        </p15:guide>
        <p15:guide id="70" pos="5881" userDrawn="1">
          <p15:clr>
            <a:srgbClr val="FBAE40"/>
          </p15:clr>
        </p15:guide>
        <p15:guide id="71" pos="6221" userDrawn="1">
          <p15:clr>
            <a:srgbClr val="FBAE40"/>
          </p15:clr>
        </p15:guide>
        <p15:guide id="72" pos="6176" userDrawn="1">
          <p15:clr>
            <a:srgbClr val="FBAE40"/>
          </p15:clr>
        </p15:guide>
        <p15:guide id="73" pos="6471" userDrawn="1">
          <p15:clr>
            <a:srgbClr val="FBAE40"/>
          </p15:clr>
        </p15:guide>
        <p15:guide id="74" pos="6516" userDrawn="1">
          <p15:clr>
            <a:srgbClr val="FBAE40"/>
          </p15:clr>
        </p15:guide>
        <p15:guide id="75" pos="6811" userDrawn="1">
          <p15:clr>
            <a:srgbClr val="FBAE40"/>
          </p15:clr>
        </p15:guide>
        <p15:guide id="76" pos="6766" userDrawn="1">
          <p15:clr>
            <a:srgbClr val="FBAE40"/>
          </p15:clr>
        </p15:guide>
        <p15:guide id="77" pos="5632" userDrawn="1">
          <p15:clr>
            <a:srgbClr val="FBAE40"/>
          </p15:clr>
        </p15:guide>
        <p15:guide id="78" pos="7106" userDrawn="1">
          <p15:clr>
            <a:srgbClr val="FBAE40"/>
          </p15:clr>
        </p15:guide>
        <p15:guide id="79" pos="7061" userDrawn="1">
          <p15:clr>
            <a:srgbClr val="FBAE40"/>
          </p15:clr>
        </p15:guide>
        <p15:guide id="80" pos="3817" userDrawn="1">
          <p15:clr>
            <a:srgbClr val="FBAE40"/>
          </p15:clr>
        </p15:guide>
        <p15:guide id="81" pos="5042" userDrawn="1">
          <p15:clr>
            <a:srgbClr val="FBAE40"/>
          </p15:clr>
        </p15:guide>
        <p15:guide id="84" pos="386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6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33" Type="http://schemas.openxmlformats.org/officeDocument/2006/relationships/image" Target="../media/image12.svg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image" Target="../media/image11.png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image" Target="../media/image10.sv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tags" Target="../tags/tag3.xml"/><Relationship Id="rId30" Type="http://schemas.openxmlformats.org/officeDocument/2006/relationships/image" Target="../media/image7.png"/><Relationship Id="rId8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image" Target="../media/image12.svg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image" Target="../media/image11.png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oleObject" Target="../embeddings/oleObject3.bin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10.sv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tags" Target="../tags/tag4.xml"/><Relationship Id="rId30" Type="http://schemas.openxmlformats.org/officeDocument/2006/relationships/image" Target="../media/image7.png"/><Relationship Id="rId8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iekt 8" hidden="1">
            <a:extLst>
              <a:ext uri="{FF2B5EF4-FFF2-40B4-BE49-F238E27FC236}">
                <a16:creationId xmlns:a16="http://schemas.microsoft.com/office/drawing/2014/main" id="{CE72D8B7-D96E-3EED-786C-D53BE41F41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67053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25" imgH="426" progId="TCLayout.ActiveDocument.1">
                  <p:embed/>
                </p:oleObj>
              </mc:Choice>
              <mc:Fallback>
                <p:oleObj name="think-cell Slide" r:id="rId28" imgW="425" imgH="426" progId="TCLayout.ActiveDocument.1">
                  <p:embed/>
                  <p:pic>
                    <p:nvPicPr>
                      <p:cNvPr id="9" name="Obiekt 8" hidden="1">
                        <a:extLst>
                          <a:ext uri="{FF2B5EF4-FFF2-40B4-BE49-F238E27FC236}">
                            <a16:creationId xmlns:a16="http://schemas.microsoft.com/office/drawing/2014/main" id="{CE72D8B7-D96E-3EED-786C-D53BE41F41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2FADF9-C260-4C8F-AF2E-2949C0479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DD5CDF-6DD6-4DA3-8E69-810A9D37F6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12DB0-1E73-4C71-A839-9BAE4A77D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3DC287-A76F-4037-80CE-A1C21BCB9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3D4B8C-5DEC-4E4C-83F1-91800EF8F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A2371116-A950-4FB5-A8B3-9733F640CB3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E9AA988-5C2A-4672-B7BB-EF615BFCC2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 t="25845" b="25845"/>
          <a:stretch/>
        </p:blipFill>
        <p:spPr>
          <a:xfrm>
            <a:off x="5848919" y="6524206"/>
            <a:ext cx="513781" cy="247330"/>
          </a:xfrm>
          <a:prstGeom prst="rect">
            <a:avLst/>
          </a:prstGeom>
        </p:spPr>
      </p:pic>
      <p:pic>
        <p:nvPicPr>
          <p:cNvPr id="10" name="Graphic 6">
            <a:extLst>
              <a:ext uri="{FF2B5EF4-FFF2-40B4-BE49-F238E27FC236}">
                <a16:creationId xmlns:a16="http://schemas.microsoft.com/office/drawing/2014/main" id="{67C9A5B7-AC03-45ED-A674-01BCDD320FDF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425376" y="363481"/>
            <a:ext cx="1254125" cy="245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347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51" r:id="rId3"/>
    <p:sldLayoutId id="2147483662" r:id="rId4"/>
    <p:sldLayoutId id="2147483663" r:id="rId5"/>
    <p:sldLayoutId id="2147483668" r:id="rId6"/>
    <p:sldLayoutId id="2147483669" r:id="rId7"/>
    <p:sldLayoutId id="2147483678" r:id="rId8"/>
    <p:sldLayoutId id="2147483670" r:id="rId9"/>
    <p:sldLayoutId id="2147483671" r:id="rId10"/>
    <p:sldLayoutId id="2147483667" r:id="rId11"/>
    <p:sldLayoutId id="2147483682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9" r:id="rId19"/>
    <p:sldLayoutId id="2147483686" r:id="rId20"/>
    <p:sldLayoutId id="2147483680" r:id="rId21"/>
    <p:sldLayoutId id="2147483681" r:id="rId22"/>
    <p:sldLayoutId id="2147483685" r:id="rId23"/>
    <p:sldLayoutId id="2147483683" r:id="rId24"/>
    <p:sldLayoutId id="2147483737" r:id="rId2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A7A5C043-5D64-C741-2961-4A7C6C846A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885309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25" imgH="426" progId="TCLayout.ActiveDocument.1">
                  <p:embed/>
                </p:oleObj>
              </mc:Choice>
              <mc:Fallback>
                <p:oleObj name="think-cell Slide" r:id="rId28" imgW="425" imgH="42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A7A5C043-5D64-C741-2961-4A7C6C846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2FADF9-C260-4C8F-AF2E-2949C0479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DD5CDF-6DD6-4DA3-8E69-810A9D37F6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12DB0-1E73-4C71-A839-9BAE4A77D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3DC287-A76F-4037-80CE-A1C21BCB9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6AB27F3-B364-4E76-AFD4-E10D7F8331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 t="25845" b="25845"/>
          <a:stretch/>
        </p:blipFill>
        <p:spPr>
          <a:xfrm>
            <a:off x="5848919" y="6524206"/>
            <a:ext cx="513781" cy="247330"/>
          </a:xfrm>
          <a:prstGeom prst="rect">
            <a:avLst/>
          </a:prstGeom>
        </p:spPr>
      </p:pic>
      <p:pic>
        <p:nvPicPr>
          <p:cNvPr id="9" name="Graphic 6">
            <a:extLst>
              <a:ext uri="{FF2B5EF4-FFF2-40B4-BE49-F238E27FC236}">
                <a16:creationId xmlns:a16="http://schemas.microsoft.com/office/drawing/2014/main" id="{44B8A494-164A-42F1-9501-D8556BD02111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425376" y="363481"/>
            <a:ext cx="1254125" cy="245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15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38" r:id="rId24"/>
    <p:sldLayoutId id="2147483711" r:id="rId2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iekt 6" hidden="1">
            <a:extLst>
              <a:ext uri="{FF2B5EF4-FFF2-40B4-BE49-F238E27FC236}">
                <a16:creationId xmlns:a16="http://schemas.microsoft.com/office/drawing/2014/main" id="{7E9B5844-AD17-6441-A539-356415AF18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045398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25" imgH="426" progId="TCLayout.ActiveDocument.1">
                  <p:embed/>
                </p:oleObj>
              </mc:Choice>
              <mc:Fallback>
                <p:oleObj name="think-cell Slide" r:id="rId28" imgW="425" imgH="426" progId="TCLayout.ActiveDocument.1">
                  <p:embed/>
                  <p:pic>
                    <p:nvPicPr>
                      <p:cNvPr id="7" name="Obiekt 6" hidden="1">
                        <a:extLst>
                          <a:ext uri="{FF2B5EF4-FFF2-40B4-BE49-F238E27FC236}">
                            <a16:creationId xmlns:a16="http://schemas.microsoft.com/office/drawing/2014/main" id="{7E9B5844-AD17-6441-A539-356415AF1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2FADF9-C260-4C8F-AF2E-2949C0479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DD5CDF-6DD6-4DA3-8E69-810A9D37F6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12DB0-1E73-4C71-A839-9BAE4A77DB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3DC287-A76F-4037-80CE-A1C21BCB9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0C66304-5042-4C54-B253-4301FE00AD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 t="25845" b="25845"/>
          <a:stretch/>
        </p:blipFill>
        <p:spPr>
          <a:xfrm>
            <a:off x="5848919" y="6524206"/>
            <a:ext cx="513781" cy="247330"/>
          </a:xfrm>
          <a:prstGeom prst="rect">
            <a:avLst/>
          </a:prstGeom>
        </p:spPr>
      </p:pic>
      <p:pic>
        <p:nvPicPr>
          <p:cNvPr id="10" name="Graphic 6">
            <a:extLst>
              <a:ext uri="{FF2B5EF4-FFF2-40B4-BE49-F238E27FC236}">
                <a16:creationId xmlns:a16="http://schemas.microsoft.com/office/drawing/2014/main" id="{E0C9A47D-4781-4825-B4A6-991087D62153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425376" y="363481"/>
            <a:ext cx="1254125" cy="245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460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9" r:id="rId24"/>
    <p:sldLayoutId id="2147483736" r:id="rId2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1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7.png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15.png"/><Relationship Id="rId5" Type="http://schemas.openxmlformats.org/officeDocument/2006/relationships/image" Target="../media/image3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3.emf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pubmed.ncbi.nlm.nih.gov/" TargetMode="External"/><Relationship Id="rId3" Type="http://schemas.openxmlformats.org/officeDocument/2006/relationships/oleObject" Target="../embeddings/oleObject5.bin"/><Relationship Id="rId7" Type="http://schemas.openxmlformats.org/officeDocument/2006/relationships/hyperlink" Target="https://scholar.google.com/" TargetMode="Externa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3.emf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mailto:kurkowski.bartosz@zabka.pl" TargetMode="External"/><Relationship Id="rId13" Type="http://schemas.openxmlformats.org/officeDocument/2006/relationships/image" Target="../media/image15.png"/><Relationship Id="rId3" Type="http://schemas.openxmlformats.org/officeDocument/2006/relationships/oleObject" Target="../embeddings/oleObject5.bin"/><Relationship Id="rId7" Type="http://schemas.openxmlformats.org/officeDocument/2006/relationships/hyperlink" Target="mailto:kozak.mateusz@zabka.pl" TargetMode="External"/><Relationship Id="rId12" Type="http://schemas.openxmlformats.org/officeDocument/2006/relationships/hyperlink" Target="mailto:szmidt.mateusz@zabka.pl" TargetMode="Externa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2.svg"/><Relationship Id="rId11" Type="http://schemas.openxmlformats.org/officeDocument/2006/relationships/hyperlink" Target="mailto:szamborski.dariusz@zabka.pl" TargetMode="External"/><Relationship Id="rId5" Type="http://schemas.openxmlformats.org/officeDocument/2006/relationships/image" Target="../media/image1.png"/><Relationship Id="rId10" Type="http://schemas.openxmlformats.org/officeDocument/2006/relationships/hyperlink" Target="mailto:pietrzak.oliwia@zabka.pl" TargetMode="External"/><Relationship Id="rId4" Type="http://schemas.openxmlformats.org/officeDocument/2006/relationships/image" Target="../media/image3.emf"/><Relationship Id="rId9" Type="http://schemas.openxmlformats.org/officeDocument/2006/relationships/hyperlink" Target="mailto:mazurowski.slawomir@zabka.pl" TargetMode="External"/><Relationship Id="rId1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ymbol zastępczy obrazu 9" descr="Obraz zawierający zrzut ekranu, pies&#10;&#10;Opis wygenerowany automatycznie">
            <a:extLst>
              <a:ext uri="{FF2B5EF4-FFF2-40B4-BE49-F238E27FC236}">
                <a16:creationId xmlns:a16="http://schemas.microsoft.com/office/drawing/2014/main" id="{58181675-55E7-1A9D-6AA8-D52CF194C40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6" b="676"/>
          <a:stretch>
            <a:fillRect/>
          </a:stretch>
        </p:blipFill>
        <p:spPr/>
      </p:pic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7B0ECF2A-243D-E40C-AA70-39911D3E02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2279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7B0ECF2A-243D-E40C-AA70-39911D3E02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C849658-9A63-4687-BF80-9B79B15539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CC42BDE7-FFAC-4BF7-B5EC-27930FC825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72300" y="2741613"/>
            <a:ext cx="4123790" cy="1922853"/>
          </a:xfrm>
        </p:spPr>
        <p:txBody>
          <a:bodyPr vert="horz"/>
          <a:lstStyle/>
          <a:p>
            <a:r>
              <a:rPr lang="en-US" dirty="0"/>
              <a:t>Fact-checking AI: Fighting Autism</a:t>
            </a:r>
            <a:r>
              <a:rPr lang="pl-PL" dirty="0"/>
              <a:t> </a:t>
            </a:r>
            <a:r>
              <a:rPr lang="en-US" dirty="0"/>
              <a:t>Disinformation</a:t>
            </a:r>
            <a:br>
              <a:rPr lang="pl-PL" dirty="0"/>
            </a:br>
            <a:r>
              <a:rPr lang="pl-PL" sz="2400" b="0" dirty="0" err="1"/>
              <a:t>Frogpt</a:t>
            </a:r>
            <a:r>
              <a:rPr lang="pl-PL" sz="2400" b="0" dirty="0"/>
              <a:t> Team</a:t>
            </a:r>
            <a:endParaRPr lang="pl-PL" b="0" noProof="0" dirty="0"/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6D2B4232-483E-403E-A858-9560B28CC5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72300" y="4794250"/>
            <a:ext cx="3978277" cy="384174"/>
          </a:xfrm>
        </p:spPr>
        <p:txBody>
          <a:bodyPr/>
          <a:lstStyle/>
          <a:p>
            <a:r>
              <a:rPr lang="pl-PL" dirty="0"/>
              <a:t>14 - 15 czerwca 2023</a:t>
            </a:r>
            <a:endParaRPr lang="pl-PL" noProof="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D3C18C-0A38-4511-9248-CD752F1FE19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2" name="Obraz 11">
            <a:extLst>
              <a:ext uri="{FF2B5EF4-FFF2-40B4-BE49-F238E27FC236}">
                <a16:creationId xmlns:a16="http://schemas.microsoft.com/office/drawing/2014/main" id="{CED71898-535B-DA33-8D71-376D4E642E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09175" y="5797407"/>
            <a:ext cx="2118463" cy="701822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8B0EEF8F-619A-9FBD-4717-04ADE420B2C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27638" y="5797407"/>
            <a:ext cx="2083362" cy="701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0193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Obraz 9" descr="Obraz zawierający tekst, zrzut ekranu, diagram, Czcionka&#10;&#10;Opis wygenerowany automatycznie">
            <a:extLst>
              <a:ext uri="{FF2B5EF4-FFF2-40B4-BE49-F238E27FC236}">
                <a16:creationId xmlns:a16="http://schemas.microsoft.com/office/drawing/2014/main" id="{4D7B23A5-6194-294E-1646-1BF2E0A17F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854" y="717550"/>
            <a:ext cx="9869444" cy="6016764"/>
          </a:xfrm>
          <a:prstGeom prst="rect">
            <a:avLst/>
          </a:prstGeom>
        </p:spPr>
      </p:pic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70FCCCF3-69A9-1941-9ED7-D92E7A4711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70FCCCF3-69A9-1941-9ED7-D92E7A4711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707A921-7F7A-40D6-B478-D13DE1269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noProof="0" dirty="0"/>
              <a:t>Technical </a:t>
            </a:r>
            <a:r>
              <a:rPr lang="pl-PL" noProof="0" dirty="0" err="1"/>
              <a:t>approach</a:t>
            </a:r>
            <a:r>
              <a:rPr lang="pl-PL" noProof="0" dirty="0"/>
              <a:t> – </a:t>
            </a:r>
            <a:r>
              <a:rPr lang="pl-PL" noProof="0" dirty="0" err="1"/>
              <a:t>why</a:t>
            </a:r>
            <a:r>
              <a:rPr lang="pl-PL" noProof="0" dirty="0"/>
              <a:t> and </a:t>
            </a:r>
            <a:r>
              <a:rPr lang="pl-PL" noProof="0" dirty="0" err="1"/>
              <a:t>how</a:t>
            </a:r>
            <a:r>
              <a:rPr lang="pl-PL" noProof="0" dirty="0"/>
              <a:t> </a:t>
            </a:r>
            <a:r>
              <a:rPr lang="pl-PL" noProof="0" dirty="0" err="1"/>
              <a:t>it</a:t>
            </a:r>
            <a:r>
              <a:rPr lang="pl-PL" noProof="0" dirty="0"/>
              <a:t> </a:t>
            </a:r>
            <a:r>
              <a:rPr lang="pl-PL" noProof="0" dirty="0" err="1"/>
              <a:t>works</a:t>
            </a:r>
            <a:r>
              <a:rPr lang="pl-PL" noProof="0" dirty="0"/>
              <a:t>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B89B6A-D2FD-19FD-E2EC-DC89960E9A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371116-A950-4FB5-A8B3-9733F640CB31}" type="slidenum">
              <a:rPr lang="pl-PL" smtClean="0"/>
              <a:pPr/>
              <a:t>2</a:t>
            </a:fld>
            <a:endParaRPr lang="pl-PL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AE6A6602-64C2-5500-8629-C4A131E4A2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39661" y="6022918"/>
            <a:ext cx="1542712" cy="511082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78AFA0ED-684A-6929-B295-3A54A0E78C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82373" y="6022917"/>
            <a:ext cx="1517151" cy="511083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4DA016CA-628F-CA58-D430-9D2B1D05F0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77855" y="1751135"/>
            <a:ext cx="1045810" cy="1124349"/>
          </a:xfrm>
          <a:prstGeom prst="rect">
            <a:avLst/>
          </a:prstGeom>
        </p:spPr>
      </p:pic>
      <p:pic>
        <p:nvPicPr>
          <p:cNvPr id="17" name="Obraz 16">
            <a:extLst>
              <a:ext uri="{FF2B5EF4-FFF2-40B4-BE49-F238E27FC236}">
                <a16:creationId xmlns:a16="http://schemas.microsoft.com/office/drawing/2014/main" id="{94B44D56-5C48-183F-5E6E-18AA8568C98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77855" y="3854105"/>
            <a:ext cx="1141979" cy="1005237"/>
          </a:xfrm>
          <a:prstGeom prst="rect">
            <a:avLst/>
          </a:prstGeom>
        </p:spPr>
      </p:pic>
      <p:pic>
        <p:nvPicPr>
          <p:cNvPr id="18" name="Obraz 17">
            <a:extLst>
              <a:ext uri="{FF2B5EF4-FFF2-40B4-BE49-F238E27FC236}">
                <a16:creationId xmlns:a16="http://schemas.microsoft.com/office/drawing/2014/main" id="{57D5B22D-C0E6-57D2-D577-DA20917876E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04882" y="3091484"/>
            <a:ext cx="1548760" cy="546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057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70FCCCF3-69A9-1941-9ED7-D92E7A4711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70FCCCF3-69A9-1941-9ED7-D92E7A4711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707A921-7F7A-40D6-B478-D13DE1269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/>
              <a:t>C</a:t>
            </a:r>
            <a:r>
              <a:rPr lang="pl-PL" noProof="0" dirty="0" err="1"/>
              <a:t>onverting</a:t>
            </a:r>
            <a:r>
              <a:rPr lang="pl-PL" noProof="0" dirty="0"/>
              <a:t> </a:t>
            </a:r>
            <a:r>
              <a:rPr lang="pl-PL" noProof="0" dirty="0" err="1"/>
              <a:t>user’s</a:t>
            </a:r>
            <a:r>
              <a:rPr lang="pl-PL" noProof="0" dirty="0"/>
              <a:t> </a:t>
            </a:r>
            <a:r>
              <a:rPr lang="pl-PL" noProof="0" dirty="0" err="1"/>
              <a:t>input</a:t>
            </a:r>
            <a:r>
              <a:rPr lang="pl-PL" noProof="0" dirty="0"/>
              <a:t> </a:t>
            </a:r>
            <a:r>
              <a:rPr lang="pl-PL" noProof="0" dirty="0" err="1"/>
              <a:t>into</a:t>
            </a:r>
            <a:r>
              <a:rPr lang="pl-PL" noProof="0" dirty="0"/>
              <a:t> </a:t>
            </a:r>
            <a:r>
              <a:rPr lang="pl-PL" noProof="0" dirty="0" err="1"/>
              <a:t>keywords</a:t>
            </a:r>
            <a:r>
              <a:rPr lang="pl-PL" noProof="0" dirty="0"/>
              <a:t> for </a:t>
            </a:r>
            <a:r>
              <a:rPr lang="pl-PL" noProof="0" dirty="0" err="1"/>
              <a:t>papers</a:t>
            </a:r>
            <a:r>
              <a:rPr lang="pl-PL" noProof="0" dirty="0"/>
              <a:t>’ </a:t>
            </a:r>
            <a:r>
              <a:rPr lang="pl-PL" noProof="0" dirty="0" err="1"/>
              <a:t>search</a:t>
            </a:r>
            <a:endParaRPr lang="pl-PL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B89B6A-D2FD-19FD-E2EC-DC89960E9A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371116-A950-4FB5-A8B3-9733F640CB31}" type="slidenum">
              <a:rPr lang="pl-PL" smtClean="0"/>
              <a:pPr/>
              <a:t>3</a:t>
            </a:fld>
            <a:endParaRPr lang="pl-PL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AE6A6602-64C2-5500-8629-C4A131E4A2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9661" y="6022918"/>
            <a:ext cx="1542712" cy="511082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78AFA0ED-684A-6929-B295-3A54A0E78C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82373" y="6022917"/>
            <a:ext cx="1517151" cy="511083"/>
          </a:xfrm>
          <a:prstGeom prst="rect">
            <a:avLst/>
          </a:prstGeom>
        </p:spPr>
      </p:pic>
      <p:sp>
        <p:nvSpPr>
          <p:cNvPr id="4" name="object 45">
            <a:extLst>
              <a:ext uri="{FF2B5EF4-FFF2-40B4-BE49-F238E27FC236}">
                <a16:creationId xmlns:a16="http://schemas.microsoft.com/office/drawing/2014/main" id="{A8376791-3520-A361-51C6-E01CF5C4C4BC}"/>
              </a:ext>
            </a:extLst>
          </p:cNvPr>
          <p:cNvSpPr/>
          <p:nvPr/>
        </p:nvSpPr>
        <p:spPr>
          <a:xfrm>
            <a:off x="1151394" y="1625954"/>
            <a:ext cx="4646909" cy="1787162"/>
          </a:xfrm>
          <a:prstGeom prst="roundRect">
            <a:avLst>
              <a:gd name="adj" fmla="val 2099"/>
            </a:avLst>
          </a:prstGeom>
          <a:solidFill>
            <a:srgbClr val="FFFFFF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pPr marL="7620" marR="2540">
              <a:lnSpc>
                <a:spcPct val="132500"/>
              </a:lnSpc>
              <a:spcBef>
                <a:spcPts val="61"/>
              </a:spcBef>
            </a:pPr>
            <a:endParaRPr lang="pl-PL" sz="1100" dirty="0">
              <a:solidFill>
                <a:srgbClr val="333333"/>
              </a:solidFill>
              <a:latin typeface="Calibri"/>
              <a:cs typeface="Calibri"/>
            </a:endParaRPr>
          </a:p>
        </p:txBody>
      </p:sp>
      <p:sp>
        <p:nvSpPr>
          <p:cNvPr id="10" name="object 22">
            <a:extLst>
              <a:ext uri="{FF2B5EF4-FFF2-40B4-BE49-F238E27FC236}">
                <a16:creationId xmlns:a16="http://schemas.microsoft.com/office/drawing/2014/main" id="{3DAA3DF2-C77A-81F9-086D-F7B2F03C36E2}"/>
              </a:ext>
            </a:extLst>
          </p:cNvPr>
          <p:cNvSpPr txBox="1"/>
          <p:nvPr/>
        </p:nvSpPr>
        <p:spPr>
          <a:xfrm>
            <a:off x="1378336" y="1076373"/>
            <a:ext cx="657280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object 38">
            <a:extLst>
              <a:ext uri="{FF2B5EF4-FFF2-40B4-BE49-F238E27FC236}">
                <a16:creationId xmlns:a16="http://schemas.microsoft.com/office/drawing/2014/main" id="{2C562EE9-5FE4-D678-A342-CE5458C3435D}"/>
              </a:ext>
            </a:extLst>
          </p:cNvPr>
          <p:cNvSpPr/>
          <p:nvPr/>
        </p:nvSpPr>
        <p:spPr>
          <a:xfrm>
            <a:off x="2104996" y="1209190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22">
            <a:extLst>
              <a:ext uri="{FF2B5EF4-FFF2-40B4-BE49-F238E27FC236}">
                <a16:creationId xmlns:a16="http://schemas.microsoft.com/office/drawing/2014/main" id="{45EAD39B-048D-03DB-D576-2FFED2BBCD38}"/>
              </a:ext>
            </a:extLst>
          </p:cNvPr>
          <p:cNvSpPr txBox="1"/>
          <p:nvPr/>
        </p:nvSpPr>
        <p:spPr>
          <a:xfrm>
            <a:off x="5514869" y="1018737"/>
            <a:ext cx="886188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2A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object 38">
            <a:extLst>
              <a:ext uri="{FF2B5EF4-FFF2-40B4-BE49-F238E27FC236}">
                <a16:creationId xmlns:a16="http://schemas.microsoft.com/office/drawing/2014/main" id="{89BCB7F9-3C6D-2A73-A60B-FDD5F12CA6FB}"/>
              </a:ext>
            </a:extLst>
          </p:cNvPr>
          <p:cNvSpPr/>
          <p:nvPr/>
        </p:nvSpPr>
        <p:spPr>
          <a:xfrm>
            <a:off x="6241529" y="1151554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28">
            <a:extLst>
              <a:ext uri="{FF2B5EF4-FFF2-40B4-BE49-F238E27FC236}">
                <a16:creationId xmlns:a16="http://schemas.microsoft.com/office/drawing/2014/main" id="{641B9902-9D17-BD84-85E2-50272A3E2DA5}"/>
              </a:ext>
            </a:extLst>
          </p:cNvPr>
          <p:cNvSpPr txBox="1"/>
          <p:nvPr/>
        </p:nvSpPr>
        <p:spPr>
          <a:xfrm>
            <a:off x="6401057" y="1076357"/>
            <a:ext cx="2480400" cy="237595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espół Data Science</a:t>
            </a:r>
            <a:endParaRPr sz="1486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4" name="Obraz 43">
            <a:extLst>
              <a:ext uri="{FF2B5EF4-FFF2-40B4-BE49-F238E27FC236}">
                <a16:creationId xmlns:a16="http://schemas.microsoft.com/office/drawing/2014/main" id="{EF5A7126-C59C-0B80-5603-33E3ABA3F5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87328" y="1705090"/>
            <a:ext cx="4530062" cy="1036582"/>
          </a:xfrm>
          <a:prstGeom prst="rect">
            <a:avLst/>
          </a:prstGeom>
        </p:spPr>
      </p:pic>
      <p:sp>
        <p:nvSpPr>
          <p:cNvPr id="46" name="pole tekstowe 45">
            <a:extLst>
              <a:ext uri="{FF2B5EF4-FFF2-40B4-BE49-F238E27FC236}">
                <a16:creationId xmlns:a16="http://schemas.microsoft.com/office/drawing/2014/main" id="{730CB606-F9C6-FE0E-898E-CF1BB0B65CD9}"/>
              </a:ext>
            </a:extLst>
          </p:cNvPr>
          <p:cNvSpPr txBox="1"/>
          <p:nvPr/>
        </p:nvSpPr>
        <p:spPr>
          <a:xfrm>
            <a:off x="1295380" y="2813170"/>
            <a:ext cx="3239103" cy="3920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620" marR="2540">
              <a:lnSpc>
                <a:spcPct val="132500"/>
              </a:lnSpc>
              <a:spcBef>
                <a:spcPts val="61"/>
              </a:spcBef>
            </a:pP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application</a:t>
            </a:r>
            <a:r>
              <a:rPr lang="pl-PL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in Power </a:t>
            </a: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Apps</a:t>
            </a:r>
            <a:endParaRPr lang="pl-PL" sz="1600" b="1" dirty="0">
              <a:solidFill>
                <a:schemeClr val="bg2">
                  <a:lumMod val="60000"/>
                  <a:lumOff val="40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47" name="object 11">
            <a:extLst>
              <a:ext uri="{FF2B5EF4-FFF2-40B4-BE49-F238E27FC236}">
                <a16:creationId xmlns:a16="http://schemas.microsoft.com/office/drawing/2014/main" id="{110D145E-15F5-E31E-BFD5-E08B20531461}"/>
              </a:ext>
            </a:extLst>
          </p:cNvPr>
          <p:cNvSpPr/>
          <p:nvPr/>
        </p:nvSpPr>
        <p:spPr>
          <a:xfrm>
            <a:off x="1141869" y="1086144"/>
            <a:ext cx="4646909" cy="436078"/>
          </a:xfrm>
          <a:prstGeom prst="roundRect">
            <a:avLst>
              <a:gd name="adj" fmla="val 7561"/>
            </a:avLst>
          </a:prstGeom>
          <a:solidFill>
            <a:schemeClr val="accent1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8" name="object 22">
            <a:extLst>
              <a:ext uri="{FF2B5EF4-FFF2-40B4-BE49-F238E27FC236}">
                <a16:creationId xmlns:a16="http://schemas.microsoft.com/office/drawing/2014/main" id="{E4CEC60E-8C16-C045-90D8-5C8FA4745211}"/>
              </a:ext>
            </a:extLst>
          </p:cNvPr>
          <p:cNvSpPr txBox="1"/>
          <p:nvPr/>
        </p:nvSpPr>
        <p:spPr>
          <a:xfrm>
            <a:off x="1368811" y="1076373"/>
            <a:ext cx="886188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1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object 38">
            <a:extLst>
              <a:ext uri="{FF2B5EF4-FFF2-40B4-BE49-F238E27FC236}">
                <a16:creationId xmlns:a16="http://schemas.microsoft.com/office/drawing/2014/main" id="{9ACD4661-05A8-7F8F-BA29-916946C1C0A4}"/>
              </a:ext>
            </a:extLst>
          </p:cNvPr>
          <p:cNvSpPr/>
          <p:nvPr/>
        </p:nvSpPr>
        <p:spPr>
          <a:xfrm>
            <a:off x="2095471" y="1209190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0" name="object 28">
            <a:extLst>
              <a:ext uri="{FF2B5EF4-FFF2-40B4-BE49-F238E27FC236}">
                <a16:creationId xmlns:a16="http://schemas.microsoft.com/office/drawing/2014/main" id="{09813B29-3655-8B55-6ED0-3CEE24B76266}"/>
              </a:ext>
            </a:extLst>
          </p:cNvPr>
          <p:cNvSpPr txBox="1"/>
          <p:nvPr/>
        </p:nvSpPr>
        <p:spPr>
          <a:xfrm>
            <a:off x="2254999" y="1133993"/>
            <a:ext cx="2480400" cy="237595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r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put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ment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nk</a:t>
            </a:r>
            <a:endParaRPr sz="1486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object 45">
            <a:extLst>
              <a:ext uri="{FF2B5EF4-FFF2-40B4-BE49-F238E27FC236}">
                <a16:creationId xmlns:a16="http://schemas.microsoft.com/office/drawing/2014/main" id="{E7334DE7-BAD3-8242-37D8-A34A84BDD794}"/>
              </a:ext>
            </a:extLst>
          </p:cNvPr>
          <p:cNvSpPr/>
          <p:nvPr/>
        </p:nvSpPr>
        <p:spPr>
          <a:xfrm>
            <a:off x="1187328" y="4160151"/>
            <a:ext cx="4599854" cy="1801747"/>
          </a:xfrm>
          <a:prstGeom prst="roundRect">
            <a:avLst>
              <a:gd name="adj" fmla="val 2099"/>
            </a:avLst>
          </a:prstGeom>
          <a:solidFill>
            <a:srgbClr val="FFFFFF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pPr marL="7620" marR="2540">
              <a:lnSpc>
                <a:spcPct val="132500"/>
              </a:lnSpc>
              <a:spcBef>
                <a:spcPts val="61"/>
              </a:spcBef>
            </a:pPr>
            <a:endParaRPr lang="pl-PL" sz="1100" dirty="0">
              <a:solidFill>
                <a:srgbClr val="333333"/>
              </a:solidFill>
              <a:latin typeface="Calibri"/>
              <a:cs typeface="Calibri"/>
            </a:endParaRPr>
          </a:p>
        </p:txBody>
      </p:sp>
      <p:sp>
        <p:nvSpPr>
          <p:cNvPr id="52" name="object 22">
            <a:extLst>
              <a:ext uri="{FF2B5EF4-FFF2-40B4-BE49-F238E27FC236}">
                <a16:creationId xmlns:a16="http://schemas.microsoft.com/office/drawing/2014/main" id="{7E12A3F6-E408-342E-DC3A-FEF4A01F0BC9}"/>
              </a:ext>
            </a:extLst>
          </p:cNvPr>
          <p:cNvSpPr txBox="1"/>
          <p:nvPr/>
        </p:nvSpPr>
        <p:spPr>
          <a:xfrm>
            <a:off x="1414270" y="3610570"/>
            <a:ext cx="657280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object 38">
            <a:extLst>
              <a:ext uri="{FF2B5EF4-FFF2-40B4-BE49-F238E27FC236}">
                <a16:creationId xmlns:a16="http://schemas.microsoft.com/office/drawing/2014/main" id="{F9FC077C-F6E7-6AA6-5A87-D8F739212A4F}"/>
              </a:ext>
            </a:extLst>
          </p:cNvPr>
          <p:cNvSpPr/>
          <p:nvPr/>
        </p:nvSpPr>
        <p:spPr>
          <a:xfrm>
            <a:off x="2140930" y="3743387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6" name="object 11">
            <a:extLst>
              <a:ext uri="{FF2B5EF4-FFF2-40B4-BE49-F238E27FC236}">
                <a16:creationId xmlns:a16="http://schemas.microsoft.com/office/drawing/2014/main" id="{8123E543-8AD4-2924-A6B6-E881908AFBD3}"/>
              </a:ext>
            </a:extLst>
          </p:cNvPr>
          <p:cNvSpPr/>
          <p:nvPr/>
        </p:nvSpPr>
        <p:spPr>
          <a:xfrm>
            <a:off x="1177803" y="3620340"/>
            <a:ext cx="4609379" cy="432281"/>
          </a:xfrm>
          <a:prstGeom prst="roundRect">
            <a:avLst>
              <a:gd name="adj" fmla="val 7561"/>
            </a:avLst>
          </a:prstGeom>
          <a:solidFill>
            <a:schemeClr val="tx1">
              <a:lumMod val="40000"/>
              <a:lumOff val="60000"/>
            </a:schemeClr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57" name="object 22">
            <a:extLst>
              <a:ext uri="{FF2B5EF4-FFF2-40B4-BE49-F238E27FC236}">
                <a16:creationId xmlns:a16="http://schemas.microsoft.com/office/drawing/2014/main" id="{9AE53ABF-68CD-5D80-BD16-74BA6E46D77F}"/>
              </a:ext>
            </a:extLst>
          </p:cNvPr>
          <p:cNvSpPr txBox="1"/>
          <p:nvPr/>
        </p:nvSpPr>
        <p:spPr>
          <a:xfrm>
            <a:off x="1404745" y="3610570"/>
            <a:ext cx="886188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1A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object 38">
            <a:extLst>
              <a:ext uri="{FF2B5EF4-FFF2-40B4-BE49-F238E27FC236}">
                <a16:creationId xmlns:a16="http://schemas.microsoft.com/office/drawing/2014/main" id="{BC9142EF-C237-7FA9-4205-F1C71DB3079D}"/>
              </a:ext>
            </a:extLst>
          </p:cNvPr>
          <p:cNvSpPr/>
          <p:nvPr/>
        </p:nvSpPr>
        <p:spPr>
          <a:xfrm>
            <a:off x="2131405" y="3743387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9" name="object 28">
            <a:extLst>
              <a:ext uri="{FF2B5EF4-FFF2-40B4-BE49-F238E27FC236}">
                <a16:creationId xmlns:a16="http://schemas.microsoft.com/office/drawing/2014/main" id="{88B13E27-C217-582D-78A0-E5C0C75BF114}"/>
              </a:ext>
            </a:extLst>
          </p:cNvPr>
          <p:cNvSpPr txBox="1"/>
          <p:nvPr/>
        </p:nvSpPr>
        <p:spPr>
          <a:xfrm>
            <a:off x="2290933" y="3668190"/>
            <a:ext cx="2480400" cy="237595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rl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rapping</a:t>
            </a:r>
            <a:endParaRPr sz="1486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pole tekstowe 59">
            <a:extLst>
              <a:ext uri="{FF2B5EF4-FFF2-40B4-BE49-F238E27FC236}">
                <a16:creationId xmlns:a16="http://schemas.microsoft.com/office/drawing/2014/main" id="{86915844-0B8A-DBD3-0315-28F3E949FA73}"/>
              </a:ext>
            </a:extLst>
          </p:cNvPr>
          <p:cNvSpPr txBox="1"/>
          <p:nvPr/>
        </p:nvSpPr>
        <p:spPr>
          <a:xfrm>
            <a:off x="1368811" y="4226940"/>
            <a:ext cx="4171792" cy="13873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0520" marR="2540" indent="-342900">
              <a:lnSpc>
                <a:spcPct val="132500"/>
              </a:lnSpc>
              <a:spcBef>
                <a:spcPts val="61"/>
              </a:spcBef>
              <a:buFont typeface="+mj-lt"/>
              <a:buAutoNum type="arabicPeriod"/>
            </a:pP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Scrapping</a:t>
            </a:r>
            <a:r>
              <a:rPr lang="pl-PL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and </a:t>
            </a: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preliminary</a:t>
            </a:r>
            <a:r>
              <a:rPr lang="pl-PL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cleaning</a:t>
            </a:r>
            <a:r>
              <a:rPr lang="pl-PL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of </a:t>
            </a: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url</a:t>
            </a:r>
            <a:r>
              <a:rPr lang="pl-PL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content</a:t>
            </a:r>
            <a:r>
              <a:rPr lang="pl-PL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with </a:t>
            </a: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python</a:t>
            </a:r>
            <a:endParaRPr lang="pl-PL" sz="1600" b="1" dirty="0">
              <a:solidFill>
                <a:schemeClr val="bg2">
                  <a:lumMod val="60000"/>
                  <a:lumOff val="40000"/>
                </a:schemeClr>
              </a:solidFill>
              <a:latin typeface="Calibri"/>
              <a:cs typeface="Calibri"/>
            </a:endParaRPr>
          </a:p>
          <a:p>
            <a:pPr marL="350520" marR="2540" indent="-342900">
              <a:lnSpc>
                <a:spcPct val="132500"/>
              </a:lnSpc>
              <a:spcBef>
                <a:spcPts val="61"/>
              </a:spcBef>
              <a:buFont typeface="+mj-lt"/>
              <a:buAutoNum type="arabicPeriod"/>
            </a:pP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Use</a:t>
            </a:r>
            <a:r>
              <a:rPr lang="pl-PL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of GPT4.0 to </a:t>
            </a: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summarize</a:t>
            </a:r>
            <a:r>
              <a:rPr lang="pl-PL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the </a:t>
            </a: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content</a:t>
            </a:r>
            <a:r>
              <a:rPr lang="pl-PL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of </a:t>
            </a: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url</a:t>
            </a:r>
            <a:r>
              <a:rPr lang="pl-PL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in </a:t>
            </a: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context</a:t>
            </a:r>
            <a:r>
              <a:rPr lang="pl-PL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of </a:t>
            </a:r>
            <a:r>
              <a:rPr lang="pl-PL" sz="16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autism</a:t>
            </a:r>
            <a:endParaRPr lang="pl-PL" sz="1600" b="1" dirty="0">
              <a:solidFill>
                <a:schemeClr val="bg2">
                  <a:lumMod val="60000"/>
                  <a:lumOff val="40000"/>
                </a:schemeClr>
              </a:solidFill>
              <a:latin typeface="Calibri"/>
              <a:cs typeface="Calibri"/>
            </a:endParaRPr>
          </a:p>
        </p:txBody>
      </p:sp>
      <p:pic>
        <p:nvPicPr>
          <p:cNvPr id="62" name="Obraz 61">
            <a:extLst>
              <a:ext uri="{FF2B5EF4-FFF2-40B4-BE49-F238E27FC236}">
                <a16:creationId xmlns:a16="http://schemas.microsoft.com/office/drawing/2014/main" id="{0FC2120E-0D52-AFB8-021D-1FB762528D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30470" y="3639066"/>
            <a:ext cx="1118680" cy="394828"/>
          </a:xfrm>
          <a:prstGeom prst="rect">
            <a:avLst/>
          </a:prstGeom>
        </p:spPr>
      </p:pic>
      <p:sp>
        <p:nvSpPr>
          <p:cNvPr id="63" name="object 45">
            <a:extLst>
              <a:ext uri="{FF2B5EF4-FFF2-40B4-BE49-F238E27FC236}">
                <a16:creationId xmlns:a16="http://schemas.microsoft.com/office/drawing/2014/main" id="{FD4F0F93-65F0-7D09-7782-64E6EBAAC304}"/>
              </a:ext>
            </a:extLst>
          </p:cNvPr>
          <p:cNvSpPr/>
          <p:nvPr/>
        </p:nvSpPr>
        <p:spPr>
          <a:xfrm>
            <a:off x="6307433" y="2434033"/>
            <a:ext cx="4697239" cy="1126535"/>
          </a:xfrm>
          <a:prstGeom prst="roundRect">
            <a:avLst>
              <a:gd name="adj" fmla="val 2099"/>
            </a:avLst>
          </a:prstGeom>
          <a:solidFill>
            <a:srgbClr val="FFFFFF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pPr marL="7620" marR="2540">
              <a:lnSpc>
                <a:spcPct val="132500"/>
              </a:lnSpc>
              <a:spcBef>
                <a:spcPts val="61"/>
              </a:spcBef>
            </a:pPr>
            <a:endParaRPr lang="pl-PL" sz="1100" dirty="0">
              <a:solidFill>
                <a:srgbClr val="333333"/>
              </a:solidFill>
              <a:latin typeface="Calibri"/>
              <a:cs typeface="Calibri"/>
            </a:endParaRPr>
          </a:p>
        </p:txBody>
      </p:sp>
      <p:sp>
        <p:nvSpPr>
          <p:cNvPr id="64" name="object 22">
            <a:extLst>
              <a:ext uri="{FF2B5EF4-FFF2-40B4-BE49-F238E27FC236}">
                <a16:creationId xmlns:a16="http://schemas.microsoft.com/office/drawing/2014/main" id="{33DD5870-8F60-FAFA-6A0C-4A842661EA9D}"/>
              </a:ext>
            </a:extLst>
          </p:cNvPr>
          <p:cNvSpPr txBox="1"/>
          <p:nvPr/>
        </p:nvSpPr>
        <p:spPr>
          <a:xfrm>
            <a:off x="6534375" y="1884453"/>
            <a:ext cx="657280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object 38">
            <a:extLst>
              <a:ext uri="{FF2B5EF4-FFF2-40B4-BE49-F238E27FC236}">
                <a16:creationId xmlns:a16="http://schemas.microsoft.com/office/drawing/2014/main" id="{C01A7A31-42C9-D067-C1CC-F58CB1721B83}"/>
              </a:ext>
            </a:extLst>
          </p:cNvPr>
          <p:cNvSpPr/>
          <p:nvPr/>
        </p:nvSpPr>
        <p:spPr>
          <a:xfrm>
            <a:off x="7261035" y="2017270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8" name="object 11">
            <a:extLst>
              <a:ext uri="{FF2B5EF4-FFF2-40B4-BE49-F238E27FC236}">
                <a16:creationId xmlns:a16="http://schemas.microsoft.com/office/drawing/2014/main" id="{19E9AF5F-E721-4591-B8E7-94A4C981A50F}"/>
              </a:ext>
            </a:extLst>
          </p:cNvPr>
          <p:cNvSpPr/>
          <p:nvPr/>
        </p:nvSpPr>
        <p:spPr>
          <a:xfrm>
            <a:off x="6297908" y="1894224"/>
            <a:ext cx="4646909" cy="436078"/>
          </a:xfrm>
          <a:prstGeom prst="roundRect">
            <a:avLst>
              <a:gd name="adj" fmla="val 7561"/>
            </a:avLst>
          </a:prstGeom>
          <a:solidFill>
            <a:schemeClr val="accent1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9" name="object 22">
            <a:extLst>
              <a:ext uri="{FF2B5EF4-FFF2-40B4-BE49-F238E27FC236}">
                <a16:creationId xmlns:a16="http://schemas.microsoft.com/office/drawing/2014/main" id="{79AD0A8C-77EF-402B-22A8-48781E322F7B}"/>
              </a:ext>
            </a:extLst>
          </p:cNvPr>
          <p:cNvSpPr txBox="1"/>
          <p:nvPr/>
        </p:nvSpPr>
        <p:spPr>
          <a:xfrm>
            <a:off x="6524850" y="1884453"/>
            <a:ext cx="886188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2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object 38">
            <a:extLst>
              <a:ext uri="{FF2B5EF4-FFF2-40B4-BE49-F238E27FC236}">
                <a16:creationId xmlns:a16="http://schemas.microsoft.com/office/drawing/2014/main" id="{B9974392-6097-4101-43A7-8DDD2C7C323B}"/>
              </a:ext>
            </a:extLst>
          </p:cNvPr>
          <p:cNvSpPr/>
          <p:nvPr/>
        </p:nvSpPr>
        <p:spPr>
          <a:xfrm>
            <a:off x="7251510" y="2017270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71" name="object 28">
            <a:extLst>
              <a:ext uri="{FF2B5EF4-FFF2-40B4-BE49-F238E27FC236}">
                <a16:creationId xmlns:a16="http://schemas.microsoft.com/office/drawing/2014/main" id="{D7FD6C21-53C0-8AA6-B558-559E54EF7BC2}"/>
              </a:ext>
            </a:extLst>
          </p:cNvPr>
          <p:cNvSpPr txBox="1"/>
          <p:nvPr/>
        </p:nvSpPr>
        <p:spPr>
          <a:xfrm>
            <a:off x="7411038" y="1942073"/>
            <a:ext cx="3593634" cy="237595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ing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put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o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ywords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or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arch</a:t>
            </a:r>
            <a:endParaRPr sz="1486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3" name="Obraz 72">
            <a:extLst>
              <a:ext uri="{FF2B5EF4-FFF2-40B4-BE49-F238E27FC236}">
                <a16:creationId xmlns:a16="http://schemas.microsoft.com/office/drawing/2014/main" id="{8EBFD5B0-E956-B057-4BCE-A7A1953414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01057" y="2646404"/>
            <a:ext cx="4526145" cy="782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0117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70FCCCF3-69A9-1941-9ED7-D92E7A4711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70FCCCF3-69A9-1941-9ED7-D92E7A4711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707A921-7F7A-40D6-B478-D13DE1269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 err="1"/>
              <a:t>Scrapping</a:t>
            </a:r>
            <a:r>
              <a:rPr lang="pl-PL" dirty="0"/>
              <a:t> </a:t>
            </a:r>
            <a:r>
              <a:rPr lang="pl-PL" dirty="0" err="1"/>
              <a:t>relevant</a:t>
            </a:r>
            <a:r>
              <a:rPr lang="pl-PL" dirty="0"/>
              <a:t> </a:t>
            </a:r>
            <a:r>
              <a:rPr lang="pl-PL" dirty="0" err="1"/>
              <a:t>research</a:t>
            </a:r>
            <a:r>
              <a:rPr lang="pl-PL" dirty="0"/>
              <a:t> </a:t>
            </a:r>
            <a:r>
              <a:rPr lang="pl-PL" dirty="0" err="1"/>
              <a:t>papers</a:t>
            </a:r>
            <a:r>
              <a:rPr lang="pl-PL" dirty="0"/>
              <a:t> and </a:t>
            </a:r>
            <a:r>
              <a:rPr lang="pl-PL" dirty="0" err="1"/>
              <a:t>summarization</a:t>
            </a:r>
            <a:endParaRPr lang="pl-PL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B89B6A-D2FD-19FD-E2EC-DC89960E9A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371116-A950-4FB5-A8B3-9733F640CB31}" type="slidenum">
              <a:rPr lang="pl-PL" smtClean="0"/>
              <a:pPr/>
              <a:t>4</a:t>
            </a:fld>
            <a:endParaRPr lang="pl-PL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AE6A6602-64C2-5500-8629-C4A131E4A2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9661" y="6022918"/>
            <a:ext cx="1542712" cy="511082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78AFA0ED-684A-6929-B295-3A54A0E78C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82373" y="6022917"/>
            <a:ext cx="1517151" cy="511083"/>
          </a:xfrm>
          <a:prstGeom prst="rect">
            <a:avLst/>
          </a:prstGeom>
        </p:spPr>
      </p:pic>
      <p:sp>
        <p:nvSpPr>
          <p:cNvPr id="44" name="object 45">
            <a:extLst>
              <a:ext uri="{FF2B5EF4-FFF2-40B4-BE49-F238E27FC236}">
                <a16:creationId xmlns:a16="http://schemas.microsoft.com/office/drawing/2014/main" id="{613E15EF-C202-4E83-7919-B667A96CA2D8}"/>
              </a:ext>
            </a:extLst>
          </p:cNvPr>
          <p:cNvSpPr/>
          <p:nvPr/>
        </p:nvSpPr>
        <p:spPr>
          <a:xfrm>
            <a:off x="1151394" y="1625954"/>
            <a:ext cx="4646909" cy="1787162"/>
          </a:xfrm>
          <a:prstGeom prst="roundRect">
            <a:avLst>
              <a:gd name="adj" fmla="val 2099"/>
            </a:avLst>
          </a:prstGeom>
          <a:solidFill>
            <a:srgbClr val="FFFFFF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pPr marL="7620" marR="2540">
              <a:lnSpc>
                <a:spcPct val="132500"/>
              </a:lnSpc>
              <a:spcBef>
                <a:spcPts val="61"/>
              </a:spcBef>
            </a:pPr>
            <a:endParaRPr lang="pl-PL" sz="1100" dirty="0">
              <a:solidFill>
                <a:srgbClr val="333333"/>
              </a:solidFill>
              <a:latin typeface="Calibri"/>
              <a:cs typeface="Calibri"/>
            </a:endParaRPr>
          </a:p>
        </p:txBody>
      </p:sp>
      <p:sp>
        <p:nvSpPr>
          <p:cNvPr id="45" name="object 22">
            <a:extLst>
              <a:ext uri="{FF2B5EF4-FFF2-40B4-BE49-F238E27FC236}">
                <a16:creationId xmlns:a16="http://schemas.microsoft.com/office/drawing/2014/main" id="{D34AD18E-9A37-3AE1-10B8-86FE388B652E}"/>
              </a:ext>
            </a:extLst>
          </p:cNvPr>
          <p:cNvSpPr txBox="1"/>
          <p:nvPr/>
        </p:nvSpPr>
        <p:spPr>
          <a:xfrm>
            <a:off x="1378336" y="1076373"/>
            <a:ext cx="657280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object 38">
            <a:extLst>
              <a:ext uri="{FF2B5EF4-FFF2-40B4-BE49-F238E27FC236}">
                <a16:creationId xmlns:a16="http://schemas.microsoft.com/office/drawing/2014/main" id="{2695B500-835B-2D61-3BDB-A8B66EC6AB67}"/>
              </a:ext>
            </a:extLst>
          </p:cNvPr>
          <p:cNvSpPr/>
          <p:nvPr/>
        </p:nvSpPr>
        <p:spPr>
          <a:xfrm>
            <a:off x="2104996" y="1209190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7" name="object 22">
            <a:extLst>
              <a:ext uri="{FF2B5EF4-FFF2-40B4-BE49-F238E27FC236}">
                <a16:creationId xmlns:a16="http://schemas.microsoft.com/office/drawing/2014/main" id="{D30CAF17-C369-F3A3-050E-8B91C851058C}"/>
              </a:ext>
            </a:extLst>
          </p:cNvPr>
          <p:cNvSpPr txBox="1"/>
          <p:nvPr/>
        </p:nvSpPr>
        <p:spPr>
          <a:xfrm>
            <a:off x="5514869" y="1018737"/>
            <a:ext cx="886188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2A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object 38">
            <a:extLst>
              <a:ext uri="{FF2B5EF4-FFF2-40B4-BE49-F238E27FC236}">
                <a16:creationId xmlns:a16="http://schemas.microsoft.com/office/drawing/2014/main" id="{807F1AA6-0A6F-45D1-681F-DDB35AAA5E36}"/>
              </a:ext>
            </a:extLst>
          </p:cNvPr>
          <p:cNvSpPr/>
          <p:nvPr/>
        </p:nvSpPr>
        <p:spPr>
          <a:xfrm>
            <a:off x="6241529" y="1151554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9" name="object 28">
            <a:extLst>
              <a:ext uri="{FF2B5EF4-FFF2-40B4-BE49-F238E27FC236}">
                <a16:creationId xmlns:a16="http://schemas.microsoft.com/office/drawing/2014/main" id="{12B4D689-D1D1-741B-41F9-305602804BE7}"/>
              </a:ext>
            </a:extLst>
          </p:cNvPr>
          <p:cNvSpPr txBox="1"/>
          <p:nvPr/>
        </p:nvSpPr>
        <p:spPr>
          <a:xfrm>
            <a:off x="6401057" y="1076357"/>
            <a:ext cx="2480400" cy="237595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espół Data Science</a:t>
            </a:r>
            <a:endParaRPr sz="1486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pole tekstowe 50">
            <a:extLst>
              <a:ext uri="{FF2B5EF4-FFF2-40B4-BE49-F238E27FC236}">
                <a16:creationId xmlns:a16="http://schemas.microsoft.com/office/drawing/2014/main" id="{E07CC7E1-CD43-1FFC-94D9-D3219070B859}"/>
              </a:ext>
            </a:extLst>
          </p:cNvPr>
          <p:cNvSpPr txBox="1"/>
          <p:nvPr/>
        </p:nvSpPr>
        <p:spPr>
          <a:xfrm>
            <a:off x="1330455" y="1775196"/>
            <a:ext cx="3776880" cy="7179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620" marR="2540">
              <a:lnSpc>
                <a:spcPct val="132500"/>
              </a:lnSpc>
              <a:spcBef>
                <a:spcPts val="61"/>
              </a:spcBef>
            </a:pPr>
            <a:r>
              <a:rPr lang="pl-PL" sz="1600" b="1" dirty="0" err="1">
                <a:latin typeface="Calibri"/>
                <a:cs typeface="Calibri"/>
              </a:rPr>
              <a:t>Searching</a:t>
            </a:r>
            <a:r>
              <a:rPr lang="pl-PL" sz="1600" b="1" dirty="0">
                <a:latin typeface="Calibri"/>
                <a:cs typeface="Calibri"/>
              </a:rPr>
              <a:t> for </a:t>
            </a:r>
            <a:r>
              <a:rPr lang="pl-PL" sz="1600" b="1" dirty="0" err="1">
                <a:latin typeface="Calibri"/>
                <a:cs typeface="Calibri"/>
              </a:rPr>
              <a:t>papers</a:t>
            </a:r>
            <a:r>
              <a:rPr lang="pl-PL" sz="1600" b="1" dirty="0">
                <a:latin typeface="Calibri"/>
                <a:cs typeface="Calibri"/>
              </a:rPr>
              <a:t> in </a:t>
            </a:r>
            <a:br>
              <a:rPr lang="pl-PL" sz="1600" b="1" dirty="0">
                <a:latin typeface="Calibri"/>
                <a:cs typeface="Calibri"/>
              </a:rPr>
            </a:br>
            <a:r>
              <a:rPr lang="pl-PL" sz="1600" b="1" dirty="0">
                <a:latin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ogle Scholar</a:t>
            </a:r>
            <a:r>
              <a:rPr lang="pl-PL" sz="1600" b="1" dirty="0">
                <a:latin typeface="arial" panose="020B0604020202020204" pitchFamily="34" charset="0"/>
              </a:rPr>
              <a:t> </a:t>
            </a:r>
            <a:r>
              <a:rPr lang="pl-PL" sz="1600" b="1" dirty="0">
                <a:latin typeface="Calibri"/>
                <a:cs typeface="Calibri"/>
              </a:rPr>
              <a:t>and </a:t>
            </a:r>
            <a:r>
              <a:rPr lang="pl-PL" sz="1600" b="1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ubMed</a:t>
            </a:r>
            <a:endParaRPr lang="pl-PL" sz="16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hlinkClick r:id="rId8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52" name="object 11">
            <a:extLst>
              <a:ext uri="{FF2B5EF4-FFF2-40B4-BE49-F238E27FC236}">
                <a16:creationId xmlns:a16="http://schemas.microsoft.com/office/drawing/2014/main" id="{B4628152-18A6-F03E-A810-091BDD6AC15A}"/>
              </a:ext>
            </a:extLst>
          </p:cNvPr>
          <p:cNvSpPr/>
          <p:nvPr/>
        </p:nvSpPr>
        <p:spPr>
          <a:xfrm>
            <a:off x="1141869" y="1086144"/>
            <a:ext cx="4646909" cy="436078"/>
          </a:xfrm>
          <a:prstGeom prst="roundRect">
            <a:avLst>
              <a:gd name="adj" fmla="val 7561"/>
            </a:avLst>
          </a:prstGeom>
          <a:solidFill>
            <a:schemeClr val="accent1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3" name="object 22">
            <a:extLst>
              <a:ext uri="{FF2B5EF4-FFF2-40B4-BE49-F238E27FC236}">
                <a16:creationId xmlns:a16="http://schemas.microsoft.com/office/drawing/2014/main" id="{29662F8F-AA1B-A5B6-3102-31A66F76069F}"/>
              </a:ext>
            </a:extLst>
          </p:cNvPr>
          <p:cNvSpPr txBox="1"/>
          <p:nvPr/>
        </p:nvSpPr>
        <p:spPr>
          <a:xfrm>
            <a:off x="1368811" y="1076373"/>
            <a:ext cx="886188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3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object 38">
            <a:extLst>
              <a:ext uri="{FF2B5EF4-FFF2-40B4-BE49-F238E27FC236}">
                <a16:creationId xmlns:a16="http://schemas.microsoft.com/office/drawing/2014/main" id="{677DCC1A-3719-6B62-AF36-1A5ADD28ACD0}"/>
              </a:ext>
            </a:extLst>
          </p:cNvPr>
          <p:cNvSpPr/>
          <p:nvPr/>
        </p:nvSpPr>
        <p:spPr>
          <a:xfrm>
            <a:off x="2095471" y="1209190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5" name="object 28">
            <a:extLst>
              <a:ext uri="{FF2B5EF4-FFF2-40B4-BE49-F238E27FC236}">
                <a16:creationId xmlns:a16="http://schemas.microsoft.com/office/drawing/2014/main" id="{046A2A76-47DB-A4BE-7F15-04A3130C27A7}"/>
              </a:ext>
            </a:extLst>
          </p:cNvPr>
          <p:cNvSpPr txBox="1"/>
          <p:nvPr/>
        </p:nvSpPr>
        <p:spPr>
          <a:xfrm>
            <a:off x="2254998" y="1133993"/>
            <a:ext cx="2647591" cy="237595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arch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or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pers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lated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pic</a:t>
            </a:r>
            <a:endParaRPr sz="1486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object 45">
            <a:extLst>
              <a:ext uri="{FF2B5EF4-FFF2-40B4-BE49-F238E27FC236}">
                <a16:creationId xmlns:a16="http://schemas.microsoft.com/office/drawing/2014/main" id="{E16DB29D-9B21-07FD-9B72-1F75D621C055}"/>
              </a:ext>
            </a:extLst>
          </p:cNvPr>
          <p:cNvSpPr/>
          <p:nvPr/>
        </p:nvSpPr>
        <p:spPr>
          <a:xfrm>
            <a:off x="1187328" y="4160151"/>
            <a:ext cx="4599854" cy="1801747"/>
          </a:xfrm>
          <a:prstGeom prst="roundRect">
            <a:avLst>
              <a:gd name="adj" fmla="val 2099"/>
            </a:avLst>
          </a:prstGeom>
          <a:solidFill>
            <a:srgbClr val="FFFFFF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pPr marL="7620" marR="2540">
              <a:lnSpc>
                <a:spcPct val="132500"/>
              </a:lnSpc>
              <a:spcBef>
                <a:spcPts val="61"/>
              </a:spcBef>
            </a:pPr>
            <a:endParaRPr lang="pl-PL" sz="1100" dirty="0">
              <a:solidFill>
                <a:srgbClr val="333333"/>
              </a:solidFill>
              <a:latin typeface="Calibri"/>
              <a:cs typeface="Calibri"/>
            </a:endParaRPr>
          </a:p>
        </p:txBody>
      </p:sp>
      <p:sp>
        <p:nvSpPr>
          <p:cNvPr id="57" name="object 22">
            <a:extLst>
              <a:ext uri="{FF2B5EF4-FFF2-40B4-BE49-F238E27FC236}">
                <a16:creationId xmlns:a16="http://schemas.microsoft.com/office/drawing/2014/main" id="{75148BEE-A8D5-E064-6B0A-BFD2C89A6095}"/>
              </a:ext>
            </a:extLst>
          </p:cNvPr>
          <p:cNvSpPr txBox="1"/>
          <p:nvPr/>
        </p:nvSpPr>
        <p:spPr>
          <a:xfrm>
            <a:off x="1414270" y="3610570"/>
            <a:ext cx="657280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object 38">
            <a:extLst>
              <a:ext uri="{FF2B5EF4-FFF2-40B4-BE49-F238E27FC236}">
                <a16:creationId xmlns:a16="http://schemas.microsoft.com/office/drawing/2014/main" id="{C5B618E0-45E1-D4EC-7155-43650A03A42C}"/>
              </a:ext>
            </a:extLst>
          </p:cNvPr>
          <p:cNvSpPr/>
          <p:nvPr/>
        </p:nvSpPr>
        <p:spPr>
          <a:xfrm>
            <a:off x="2140930" y="3743387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9" name="object 11">
            <a:extLst>
              <a:ext uri="{FF2B5EF4-FFF2-40B4-BE49-F238E27FC236}">
                <a16:creationId xmlns:a16="http://schemas.microsoft.com/office/drawing/2014/main" id="{6B8A1AA4-D4AE-8B9B-CCE7-A84FB34309E8}"/>
              </a:ext>
            </a:extLst>
          </p:cNvPr>
          <p:cNvSpPr/>
          <p:nvPr/>
        </p:nvSpPr>
        <p:spPr>
          <a:xfrm>
            <a:off x="1177803" y="3620340"/>
            <a:ext cx="4609379" cy="432281"/>
          </a:xfrm>
          <a:prstGeom prst="roundRect">
            <a:avLst>
              <a:gd name="adj" fmla="val 7561"/>
            </a:avLst>
          </a:prstGeom>
          <a:solidFill>
            <a:srgbClr val="006420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60" name="object 22">
            <a:extLst>
              <a:ext uri="{FF2B5EF4-FFF2-40B4-BE49-F238E27FC236}">
                <a16:creationId xmlns:a16="http://schemas.microsoft.com/office/drawing/2014/main" id="{DC0DEEF5-99FB-ACED-0CB0-8F58FD949749}"/>
              </a:ext>
            </a:extLst>
          </p:cNvPr>
          <p:cNvSpPr txBox="1"/>
          <p:nvPr/>
        </p:nvSpPr>
        <p:spPr>
          <a:xfrm>
            <a:off x="1404745" y="3610570"/>
            <a:ext cx="886188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4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object 38">
            <a:extLst>
              <a:ext uri="{FF2B5EF4-FFF2-40B4-BE49-F238E27FC236}">
                <a16:creationId xmlns:a16="http://schemas.microsoft.com/office/drawing/2014/main" id="{5942D060-5762-3CBB-28FA-0128EB414723}"/>
              </a:ext>
            </a:extLst>
          </p:cNvPr>
          <p:cNvSpPr/>
          <p:nvPr/>
        </p:nvSpPr>
        <p:spPr>
          <a:xfrm>
            <a:off x="2131405" y="3743387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2" name="object 28">
            <a:extLst>
              <a:ext uri="{FF2B5EF4-FFF2-40B4-BE49-F238E27FC236}">
                <a16:creationId xmlns:a16="http://schemas.microsoft.com/office/drawing/2014/main" id="{8FBE5DA0-2EAF-D1F2-2B7C-BB89C6028D53}"/>
              </a:ext>
            </a:extLst>
          </p:cNvPr>
          <p:cNvSpPr txBox="1"/>
          <p:nvPr/>
        </p:nvSpPr>
        <p:spPr>
          <a:xfrm>
            <a:off x="2290933" y="3668190"/>
            <a:ext cx="2480400" cy="237595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ent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rapping</a:t>
            </a:r>
            <a:endParaRPr sz="1486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pole tekstowe 62">
            <a:extLst>
              <a:ext uri="{FF2B5EF4-FFF2-40B4-BE49-F238E27FC236}">
                <a16:creationId xmlns:a16="http://schemas.microsoft.com/office/drawing/2014/main" id="{FFB7177F-8327-A307-6923-3D61D2C64040}"/>
              </a:ext>
            </a:extLst>
          </p:cNvPr>
          <p:cNvSpPr txBox="1"/>
          <p:nvPr/>
        </p:nvSpPr>
        <p:spPr>
          <a:xfrm>
            <a:off x="1343077" y="4307465"/>
            <a:ext cx="4171792" cy="7195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620" marR="2540">
              <a:lnSpc>
                <a:spcPct val="132500"/>
              </a:lnSpc>
              <a:spcBef>
                <a:spcPts val="61"/>
              </a:spcBef>
            </a:pPr>
            <a:r>
              <a:rPr lang="pl-PL" sz="1600" b="1" u="sng" dirty="0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In demo </a:t>
            </a: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due</a:t>
            </a:r>
            <a:r>
              <a:rPr lang="pl-PL" sz="1600" b="1" u="sng" dirty="0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 to </a:t>
            </a: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token</a:t>
            </a:r>
            <a:r>
              <a:rPr lang="pl-PL" sz="1600" b="1" u="sng" dirty="0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limitation</a:t>
            </a:r>
            <a:r>
              <a:rPr lang="pl-PL" sz="1600" b="1" u="sng" dirty="0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scrapping</a:t>
            </a:r>
            <a:r>
              <a:rPr lang="pl-PL" sz="1600" b="1" u="sng" dirty="0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reduced</a:t>
            </a:r>
            <a:r>
              <a:rPr lang="pl-PL" sz="1600" b="1" u="sng" dirty="0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only</a:t>
            </a:r>
            <a:r>
              <a:rPr lang="pl-PL" sz="1600" b="1" u="sng" dirty="0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 to </a:t>
            </a: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abstracts</a:t>
            </a:r>
            <a:endParaRPr lang="pl-PL" sz="1600" b="1" u="sng" dirty="0">
              <a:solidFill>
                <a:schemeClr val="tx1">
                  <a:lumMod val="7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65" name="object 45">
            <a:extLst>
              <a:ext uri="{FF2B5EF4-FFF2-40B4-BE49-F238E27FC236}">
                <a16:creationId xmlns:a16="http://schemas.microsoft.com/office/drawing/2014/main" id="{B37F57AA-A286-7B94-6002-02D120B5377A}"/>
              </a:ext>
            </a:extLst>
          </p:cNvPr>
          <p:cNvSpPr/>
          <p:nvPr/>
        </p:nvSpPr>
        <p:spPr>
          <a:xfrm>
            <a:off x="6307433" y="2434033"/>
            <a:ext cx="4646909" cy="2927394"/>
          </a:xfrm>
          <a:prstGeom prst="roundRect">
            <a:avLst>
              <a:gd name="adj" fmla="val 2099"/>
            </a:avLst>
          </a:prstGeom>
          <a:solidFill>
            <a:srgbClr val="FFFFFF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pPr marL="7620" marR="2540">
              <a:lnSpc>
                <a:spcPct val="132500"/>
              </a:lnSpc>
              <a:spcBef>
                <a:spcPts val="61"/>
              </a:spcBef>
            </a:pPr>
            <a:endParaRPr lang="pl-PL" sz="1100" dirty="0">
              <a:solidFill>
                <a:srgbClr val="333333"/>
              </a:solidFill>
              <a:latin typeface="Calibri"/>
              <a:cs typeface="Calibri"/>
            </a:endParaRPr>
          </a:p>
        </p:txBody>
      </p:sp>
      <p:sp>
        <p:nvSpPr>
          <p:cNvPr id="66" name="object 22">
            <a:extLst>
              <a:ext uri="{FF2B5EF4-FFF2-40B4-BE49-F238E27FC236}">
                <a16:creationId xmlns:a16="http://schemas.microsoft.com/office/drawing/2014/main" id="{36B30D90-CCDD-2018-EFD1-6641F0E4F333}"/>
              </a:ext>
            </a:extLst>
          </p:cNvPr>
          <p:cNvSpPr txBox="1"/>
          <p:nvPr/>
        </p:nvSpPr>
        <p:spPr>
          <a:xfrm>
            <a:off x="6534375" y="1884453"/>
            <a:ext cx="657280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" name="object 38">
            <a:extLst>
              <a:ext uri="{FF2B5EF4-FFF2-40B4-BE49-F238E27FC236}">
                <a16:creationId xmlns:a16="http://schemas.microsoft.com/office/drawing/2014/main" id="{556C6936-EA8D-BA19-6487-7A3E49510893}"/>
              </a:ext>
            </a:extLst>
          </p:cNvPr>
          <p:cNvSpPr/>
          <p:nvPr/>
        </p:nvSpPr>
        <p:spPr>
          <a:xfrm>
            <a:off x="7261035" y="2017270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8" name="pole tekstowe 67">
            <a:extLst>
              <a:ext uri="{FF2B5EF4-FFF2-40B4-BE49-F238E27FC236}">
                <a16:creationId xmlns:a16="http://schemas.microsoft.com/office/drawing/2014/main" id="{ABCEADD5-7978-1F57-B6CF-7B44902A8E71}"/>
              </a:ext>
            </a:extLst>
          </p:cNvPr>
          <p:cNvSpPr txBox="1"/>
          <p:nvPr/>
        </p:nvSpPr>
        <p:spPr>
          <a:xfrm>
            <a:off x="6367289" y="3999224"/>
            <a:ext cx="4397504" cy="12143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620" marR="2540">
              <a:lnSpc>
                <a:spcPct val="132500"/>
              </a:lnSpc>
              <a:spcBef>
                <a:spcPts val="61"/>
              </a:spcBef>
            </a:pP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Due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to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reduction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of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papers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’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content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to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abstracts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only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we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encounterd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a problem of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lack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of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information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within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the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scrapped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data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which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naturally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affects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performance of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our</a:t>
            </a:r>
            <a:r>
              <a:rPr lang="pl-PL" sz="1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400" b="1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solution</a:t>
            </a:r>
            <a:endParaRPr lang="pl-PL" sz="1600" b="1" dirty="0">
              <a:solidFill>
                <a:schemeClr val="bg2">
                  <a:lumMod val="60000"/>
                  <a:lumOff val="40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69" name="object 11">
            <a:extLst>
              <a:ext uri="{FF2B5EF4-FFF2-40B4-BE49-F238E27FC236}">
                <a16:creationId xmlns:a16="http://schemas.microsoft.com/office/drawing/2014/main" id="{73AF3A87-A66B-8FFB-3A6A-6E7EDA2F4DE7}"/>
              </a:ext>
            </a:extLst>
          </p:cNvPr>
          <p:cNvSpPr/>
          <p:nvPr/>
        </p:nvSpPr>
        <p:spPr>
          <a:xfrm>
            <a:off x="6297908" y="1894224"/>
            <a:ext cx="4646909" cy="436078"/>
          </a:xfrm>
          <a:prstGeom prst="roundRect">
            <a:avLst>
              <a:gd name="adj" fmla="val 7561"/>
            </a:avLst>
          </a:prstGeom>
          <a:solidFill>
            <a:schemeClr val="accent1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70" name="object 22">
            <a:extLst>
              <a:ext uri="{FF2B5EF4-FFF2-40B4-BE49-F238E27FC236}">
                <a16:creationId xmlns:a16="http://schemas.microsoft.com/office/drawing/2014/main" id="{3AB7C2B4-67A3-8595-317C-80E80FFCCB97}"/>
              </a:ext>
            </a:extLst>
          </p:cNvPr>
          <p:cNvSpPr txBox="1"/>
          <p:nvPr/>
        </p:nvSpPr>
        <p:spPr>
          <a:xfrm>
            <a:off x="6524850" y="1884453"/>
            <a:ext cx="886188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object 38">
            <a:extLst>
              <a:ext uri="{FF2B5EF4-FFF2-40B4-BE49-F238E27FC236}">
                <a16:creationId xmlns:a16="http://schemas.microsoft.com/office/drawing/2014/main" id="{BE3A76AC-A9C2-7AD7-A0DA-CD88141C76CD}"/>
              </a:ext>
            </a:extLst>
          </p:cNvPr>
          <p:cNvSpPr/>
          <p:nvPr/>
        </p:nvSpPr>
        <p:spPr>
          <a:xfrm>
            <a:off x="7251510" y="2017270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72" name="object 28">
            <a:extLst>
              <a:ext uri="{FF2B5EF4-FFF2-40B4-BE49-F238E27FC236}">
                <a16:creationId xmlns:a16="http://schemas.microsoft.com/office/drawing/2014/main" id="{0A9F8785-8E30-4F76-CD7A-11C2CCEA415D}"/>
              </a:ext>
            </a:extLst>
          </p:cNvPr>
          <p:cNvSpPr txBox="1"/>
          <p:nvPr/>
        </p:nvSpPr>
        <p:spPr>
          <a:xfrm>
            <a:off x="7411038" y="1942073"/>
            <a:ext cx="3593634" cy="237595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486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ent </a:t>
            </a:r>
            <a:r>
              <a:rPr lang="pl-PL" sz="1486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mmarization</a:t>
            </a:r>
            <a:endParaRPr sz="1486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3" name="Obraz 72">
            <a:extLst>
              <a:ext uri="{FF2B5EF4-FFF2-40B4-BE49-F238E27FC236}">
                <a16:creationId xmlns:a16="http://schemas.microsoft.com/office/drawing/2014/main" id="{318A4F9A-7DB1-17AB-47DA-C77CB34833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05982" y="1905874"/>
            <a:ext cx="1118680" cy="394828"/>
          </a:xfrm>
          <a:prstGeom prst="rect">
            <a:avLst/>
          </a:prstGeom>
        </p:spPr>
      </p:pic>
      <p:sp>
        <p:nvSpPr>
          <p:cNvPr id="74" name="pole tekstowe 73">
            <a:extLst>
              <a:ext uri="{FF2B5EF4-FFF2-40B4-BE49-F238E27FC236}">
                <a16:creationId xmlns:a16="http://schemas.microsoft.com/office/drawing/2014/main" id="{A87C2269-5EE1-5919-FAA9-7DA8F372C795}"/>
              </a:ext>
            </a:extLst>
          </p:cNvPr>
          <p:cNvSpPr txBox="1"/>
          <p:nvPr/>
        </p:nvSpPr>
        <p:spPr>
          <a:xfrm>
            <a:off x="6451419" y="2583533"/>
            <a:ext cx="4171792" cy="7195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620" marR="2540">
              <a:lnSpc>
                <a:spcPct val="132500"/>
              </a:lnSpc>
              <a:spcBef>
                <a:spcPts val="61"/>
              </a:spcBef>
            </a:pP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Summization</a:t>
            </a:r>
            <a:r>
              <a:rPr lang="pl-PL" sz="1600" b="1" u="sng" dirty="0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 of </a:t>
            </a: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information</a:t>
            </a:r>
            <a:r>
              <a:rPr lang="pl-PL" sz="1600" b="1" u="sng" dirty="0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 from </a:t>
            </a: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different</a:t>
            </a:r>
            <a:r>
              <a:rPr lang="pl-PL" sz="1600" b="1" u="sng" dirty="0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papers</a:t>
            </a:r>
            <a:r>
              <a:rPr lang="pl-PL" sz="1600" b="1" u="sng" dirty="0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 to </a:t>
            </a: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obtain</a:t>
            </a:r>
            <a:r>
              <a:rPr lang="pl-PL" sz="1600" b="1" u="sng" dirty="0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600" b="1" u="sng" dirty="0" err="1">
                <a:solidFill>
                  <a:schemeClr val="tx1">
                    <a:lumMod val="75000"/>
                  </a:schemeClr>
                </a:solidFill>
                <a:latin typeface="Calibri"/>
                <a:cs typeface="Calibri"/>
              </a:rPr>
              <a:t>verified</a:t>
            </a:r>
            <a:endParaRPr lang="pl-PL" sz="1600" b="1" u="sng" dirty="0">
              <a:solidFill>
                <a:schemeClr val="tx1">
                  <a:lumMod val="75000"/>
                </a:schemeClr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441818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70FCCCF3-69A9-1941-9ED7-D92E7A4711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70FCCCF3-69A9-1941-9ED7-D92E7A4711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707A921-7F7A-40D6-B478-D13DE1269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 err="1"/>
              <a:t>Comparing</a:t>
            </a:r>
            <a:r>
              <a:rPr lang="pl-PL" dirty="0"/>
              <a:t> </a:t>
            </a:r>
            <a:r>
              <a:rPr lang="pl-PL" dirty="0" err="1"/>
              <a:t>user’s</a:t>
            </a:r>
            <a:r>
              <a:rPr lang="pl-PL" dirty="0"/>
              <a:t> </a:t>
            </a:r>
            <a:r>
              <a:rPr lang="pl-PL" dirty="0" err="1"/>
              <a:t>input</a:t>
            </a:r>
            <a:r>
              <a:rPr lang="pl-PL" dirty="0"/>
              <a:t> with </a:t>
            </a:r>
            <a:r>
              <a:rPr lang="pl-PL" dirty="0" err="1"/>
              <a:t>relevant</a:t>
            </a:r>
            <a:r>
              <a:rPr lang="pl-PL" dirty="0"/>
              <a:t> </a:t>
            </a:r>
            <a:r>
              <a:rPr lang="pl-PL" dirty="0" err="1"/>
              <a:t>articles</a:t>
            </a:r>
            <a:r>
              <a:rPr lang="pl-PL" dirty="0"/>
              <a:t> on a </a:t>
            </a:r>
            <a:r>
              <a:rPr lang="pl-PL" dirty="0" err="1"/>
              <a:t>topic</a:t>
            </a:r>
            <a:endParaRPr lang="pl-PL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B89B6A-D2FD-19FD-E2EC-DC89960E9A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371116-A950-4FB5-A8B3-9733F640CB31}" type="slidenum">
              <a:rPr lang="pl-PL" smtClean="0"/>
              <a:pPr/>
              <a:t>5</a:t>
            </a:fld>
            <a:endParaRPr lang="pl-PL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AE6A6602-64C2-5500-8629-C4A131E4A2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9661" y="6022918"/>
            <a:ext cx="1542712" cy="511082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78AFA0ED-684A-6929-B295-3A54A0E78C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82373" y="6022917"/>
            <a:ext cx="1517151" cy="511083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806BE32B-6376-959B-DE2B-2FB0B0585E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9661" y="6022918"/>
            <a:ext cx="1542712" cy="511082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F378302C-3E3A-5711-19AC-D2A19F5224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82373" y="6022917"/>
            <a:ext cx="1517151" cy="511083"/>
          </a:xfrm>
          <a:prstGeom prst="rect">
            <a:avLst/>
          </a:prstGeom>
        </p:spPr>
      </p:pic>
      <p:sp>
        <p:nvSpPr>
          <p:cNvPr id="13" name="object 22">
            <a:extLst>
              <a:ext uri="{FF2B5EF4-FFF2-40B4-BE49-F238E27FC236}">
                <a16:creationId xmlns:a16="http://schemas.microsoft.com/office/drawing/2014/main" id="{01BDE8CB-3259-4D46-6568-444E9DCB72E8}"/>
              </a:ext>
            </a:extLst>
          </p:cNvPr>
          <p:cNvSpPr txBox="1"/>
          <p:nvPr/>
        </p:nvSpPr>
        <p:spPr>
          <a:xfrm>
            <a:off x="985052" y="764969"/>
            <a:ext cx="886188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2A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object 38">
            <a:extLst>
              <a:ext uri="{FF2B5EF4-FFF2-40B4-BE49-F238E27FC236}">
                <a16:creationId xmlns:a16="http://schemas.microsoft.com/office/drawing/2014/main" id="{A08CFDD4-563B-50AA-E853-5D30B53A45B9}"/>
              </a:ext>
            </a:extLst>
          </p:cNvPr>
          <p:cNvSpPr/>
          <p:nvPr/>
        </p:nvSpPr>
        <p:spPr>
          <a:xfrm>
            <a:off x="1711712" y="897786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28">
            <a:extLst>
              <a:ext uri="{FF2B5EF4-FFF2-40B4-BE49-F238E27FC236}">
                <a16:creationId xmlns:a16="http://schemas.microsoft.com/office/drawing/2014/main" id="{D833D0E2-A75A-E3A2-1310-EB7B23E3B967}"/>
              </a:ext>
            </a:extLst>
          </p:cNvPr>
          <p:cNvSpPr txBox="1"/>
          <p:nvPr/>
        </p:nvSpPr>
        <p:spPr>
          <a:xfrm>
            <a:off x="1871240" y="822589"/>
            <a:ext cx="2480400" cy="237595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espół Data Science</a:t>
            </a:r>
            <a:endParaRPr sz="1486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object 45">
            <a:extLst>
              <a:ext uri="{FF2B5EF4-FFF2-40B4-BE49-F238E27FC236}">
                <a16:creationId xmlns:a16="http://schemas.microsoft.com/office/drawing/2014/main" id="{6BF57F4B-7ABE-0ED8-815A-924C120A6BC5}"/>
              </a:ext>
            </a:extLst>
          </p:cNvPr>
          <p:cNvSpPr/>
          <p:nvPr/>
        </p:nvSpPr>
        <p:spPr>
          <a:xfrm>
            <a:off x="814675" y="1564268"/>
            <a:ext cx="7724986" cy="3729463"/>
          </a:xfrm>
          <a:prstGeom prst="roundRect">
            <a:avLst>
              <a:gd name="adj" fmla="val 2099"/>
            </a:avLst>
          </a:prstGeom>
          <a:solidFill>
            <a:srgbClr val="FFFFFF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pPr marL="7620" marR="2540">
              <a:lnSpc>
                <a:spcPct val="132500"/>
              </a:lnSpc>
              <a:spcBef>
                <a:spcPts val="61"/>
              </a:spcBef>
            </a:pPr>
            <a:endParaRPr lang="pl-PL" sz="1100" dirty="0">
              <a:solidFill>
                <a:srgbClr val="333333"/>
              </a:solidFill>
              <a:latin typeface="Calibri"/>
              <a:cs typeface="Calibri"/>
            </a:endParaRPr>
          </a:p>
        </p:txBody>
      </p:sp>
      <p:sp>
        <p:nvSpPr>
          <p:cNvPr id="30" name="object 22">
            <a:extLst>
              <a:ext uri="{FF2B5EF4-FFF2-40B4-BE49-F238E27FC236}">
                <a16:creationId xmlns:a16="http://schemas.microsoft.com/office/drawing/2014/main" id="{A41A2365-7890-00FB-63D7-76362A359C51}"/>
              </a:ext>
            </a:extLst>
          </p:cNvPr>
          <p:cNvSpPr txBox="1"/>
          <p:nvPr/>
        </p:nvSpPr>
        <p:spPr>
          <a:xfrm>
            <a:off x="1041616" y="1014689"/>
            <a:ext cx="657280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object 38">
            <a:extLst>
              <a:ext uri="{FF2B5EF4-FFF2-40B4-BE49-F238E27FC236}">
                <a16:creationId xmlns:a16="http://schemas.microsoft.com/office/drawing/2014/main" id="{C44C490E-CC2F-B7A4-631C-A09646E74157}"/>
              </a:ext>
            </a:extLst>
          </p:cNvPr>
          <p:cNvSpPr/>
          <p:nvPr/>
        </p:nvSpPr>
        <p:spPr>
          <a:xfrm>
            <a:off x="1768276" y="1147506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3" name="object 11">
            <a:extLst>
              <a:ext uri="{FF2B5EF4-FFF2-40B4-BE49-F238E27FC236}">
                <a16:creationId xmlns:a16="http://schemas.microsoft.com/office/drawing/2014/main" id="{0EAD24E0-4123-4655-1B8C-CE73B8EBEACD}"/>
              </a:ext>
            </a:extLst>
          </p:cNvPr>
          <p:cNvSpPr/>
          <p:nvPr/>
        </p:nvSpPr>
        <p:spPr>
          <a:xfrm>
            <a:off x="805149" y="1024460"/>
            <a:ext cx="7734511" cy="412027"/>
          </a:xfrm>
          <a:prstGeom prst="roundRect">
            <a:avLst>
              <a:gd name="adj" fmla="val 7561"/>
            </a:avLst>
          </a:prstGeom>
          <a:solidFill>
            <a:schemeClr val="accent1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4" name="object 22">
            <a:extLst>
              <a:ext uri="{FF2B5EF4-FFF2-40B4-BE49-F238E27FC236}">
                <a16:creationId xmlns:a16="http://schemas.microsoft.com/office/drawing/2014/main" id="{0D5A4CDE-1C36-A64A-6D0D-3F036FFB6E40}"/>
              </a:ext>
            </a:extLst>
          </p:cNvPr>
          <p:cNvSpPr txBox="1"/>
          <p:nvPr/>
        </p:nvSpPr>
        <p:spPr>
          <a:xfrm>
            <a:off x="1032091" y="1014689"/>
            <a:ext cx="886188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6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object 38">
            <a:extLst>
              <a:ext uri="{FF2B5EF4-FFF2-40B4-BE49-F238E27FC236}">
                <a16:creationId xmlns:a16="http://schemas.microsoft.com/office/drawing/2014/main" id="{6A93FFD3-39DF-235F-9CA7-C2BC8064827E}"/>
              </a:ext>
            </a:extLst>
          </p:cNvPr>
          <p:cNvSpPr/>
          <p:nvPr/>
        </p:nvSpPr>
        <p:spPr>
          <a:xfrm>
            <a:off x="1758751" y="1147506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28">
            <a:extLst>
              <a:ext uri="{FF2B5EF4-FFF2-40B4-BE49-F238E27FC236}">
                <a16:creationId xmlns:a16="http://schemas.microsoft.com/office/drawing/2014/main" id="{ACF7720E-89CE-EAC1-35F1-CC8D3E4DFE6B}"/>
              </a:ext>
            </a:extLst>
          </p:cNvPr>
          <p:cNvSpPr txBox="1"/>
          <p:nvPr/>
        </p:nvSpPr>
        <p:spPr>
          <a:xfrm>
            <a:off x="1918278" y="1072310"/>
            <a:ext cx="5386083" cy="237595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486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ification</a:t>
            </a:r>
            <a:r>
              <a:rPr lang="pl-PL" sz="1486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pl-PL" sz="1486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iginal</a:t>
            </a:r>
            <a:r>
              <a:rPr lang="pl-PL" sz="1486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iece of </a:t>
            </a:r>
            <a:r>
              <a:rPr lang="pl-PL" sz="1486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rmation</a:t>
            </a:r>
            <a:r>
              <a:rPr lang="pl-PL" sz="1486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ith data from </a:t>
            </a:r>
            <a:r>
              <a:rPr lang="pl-PL" sz="1486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pers</a:t>
            </a:r>
            <a:endParaRPr sz="1486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7" name="Obraz 36">
            <a:extLst>
              <a:ext uri="{FF2B5EF4-FFF2-40B4-BE49-F238E27FC236}">
                <a16:creationId xmlns:a16="http://schemas.microsoft.com/office/drawing/2014/main" id="{F47E9617-F7E9-6475-2DD9-437D86D8C7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04361" y="1041659"/>
            <a:ext cx="1118680" cy="394828"/>
          </a:xfrm>
          <a:prstGeom prst="rect">
            <a:avLst/>
          </a:prstGeom>
        </p:spPr>
      </p:pic>
      <p:pic>
        <p:nvPicPr>
          <p:cNvPr id="43" name="Obraz 42">
            <a:extLst>
              <a:ext uri="{FF2B5EF4-FFF2-40B4-BE49-F238E27FC236}">
                <a16:creationId xmlns:a16="http://schemas.microsoft.com/office/drawing/2014/main" id="{8B5F85C3-90EC-70D9-5665-3A6C750B7A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4946" y="1719682"/>
            <a:ext cx="6052746" cy="3367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807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70FCCCF3-69A9-1941-9ED7-D92E7A4711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70FCCCF3-69A9-1941-9ED7-D92E7A4711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707A921-7F7A-40D6-B478-D13DE1269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 err="1"/>
              <a:t>Response</a:t>
            </a:r>
            <a:r>
              <a:rPr lang="pl-PL" dirty="0"/>
              <a:t> and feedback </a:t>
            </a:r>
            <a:r>
              <a:rPr lang="pl-PL" dirty="0" err="1"/>
              <a:t>information</a:t>
            </a:r>
            <a:r>
              <a:rPr lang="pl-PL" dirty="0"/>
              <a:t> for </a:t>
            </a:r>
            <a:r>
              <a:rPr lang="pl-PL" dirty="0" err="1"/>
              <a:t>user</a:t>
            </a:r>
            <a:r>
              <a:rPr lang="pl-PL" dirty="0"/>
              <a:t>  </a:t>
            </a:r>
            <a:endParaRPr lang="pl-PL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B89B6A-D2FD-19FD-E2EC-DC89960E9A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371116-A950-4FB5-A8B3-9733F640CB31}" type="slidenum">
              <a:rPr lang="pl-PL" smtClean="0"/>
              <a:pPr/>
              <a:t>6</a:t>
            </a:fld>
            <a:endParaRPr lang="pl-PL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AE6A6602-64C2-5500-8629-C4A131E4A2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9661" y="6022918"/>
            <a:ext cx="1542712" cy="511082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78AFA0ED-684A-6929-B295-3A54A0E78C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82373" y="6022917"/>
            <a:ext cx="1517151" cy="511083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A57F47DE-1823-3038-0070-C8DF60ECC6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41679" y="1091631"/>
            <a:ext cx="7567400" cy="4557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0988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70FCCCF3-69A9-1941-9ED7-D92E7A4711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70FCCCF3-69A9-1941-9ED7-D92E7A4711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707A921-7F7A-40D6-B478-D13DE1269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 err="1"/>
              <a:t>What</a:t>
            </a:r>
            <a:r>
              <a:rPr lang="pl-PL" dirty="0"/>
              <a:t> </a:t>
            </a:r>
            <a:r>
              <a:rPr lang="pl-PL" dirty="0" err="1"/>
              <a:t>are</a:t>
            </a:r>
            <a:r>
              <a:rPr lang="pl-PL" dirty="0"/>
              <a:t> </a:t>
            </a:r>
            <a:r>
              <a:rPr lang="pl-PL" dirty="0" err="1"/>
              <a:t>next</a:t>
            </a:r>
            <a:r>
              <a:rPr lang="pl-PL" dirty="0"/>
              <a:t> </a:t>
            </a:r>
            <a:r>
              <a:rPr lang="pl-PL" dirty="0" err="1"/>
              <a:t>steps</a:t>
            </a:r>
            <a:r>
              <a:rPr lang="pl-PL" dirty="0"/>
              <a:t> for </a:t>
            </a:r>
            <a:r>
              <a:rPr lang="pl-PL" dirty="0" err="1"/>
              <a:t>our</a:t>
            </a:r>
            <a:r>
              <a:rPr lang="pl-PL" dirty="0"/>
              <a:t> demo?</a:t>
            </a:r>
            <a:endParaRPr lang="pl-PL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B89B6A-D2FD-19FD-E2EC-DC89960E9A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371116-A950-4FB5-A8B3-9733F640CB31}" type="slidenum">
              <a:rPr lang="pl-PL" smtClean="0"/>
              <a:pPr/>
              <a:t>7</a:t>
            </a:fld>
            <a:endParaRPr lang="pl-PL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AE6A6602-64C2-5500-8629-C4A131E4A2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9661" y="6022918"/>
            <a:ext cx="1542712" cy="511082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78AFA0ED-684A-6929-B295-3A54A0E78C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82373" y="6022917"/>
            <a:ext cx="1517151" cy="511083"/>
          </a:xfrm>
          <a:prstGeom prst="rect">
            <a:avLst/>
          </a:prstGeom>
        </p:spPr>
      </p:pic>
      <p:sp>
        <p:nvSpPr>
          <p:cNvPr id="4" name="object 45">
            <a:extLst>
              <a:ext uri="{FF2B5EF4-FFF2-40B4-BE49-F238E27FC236}">
                <a16:creationId xmlns:a16="http://schemas.microsoft.com/office/drawing/2014/main" id="{C8D414A5-5C62-6ECD-5AAC-17871493C52A}"/>
              </a:ext>
            </a:extLst>
          </p:cNvPr>
          <p:cNvSpPr/>
          <p:nvPr/>
        </p:nvSpPr>
        <p:spPr>
          <a:xfrm>
            <a:off x="561885" y="2891116"/>
            <a:ext cx="3666521" cy="1801748"/>
          </a:xfrm>
          <a:prstGeom prst="roundRect">
            <a:avLst>
              <a:gd name="adj" fmla="val 2099"/>
            </a:avLst>
          </a:prstGeom>
          <a:solidFill>
            <a:srgbClr val="FFFFFF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" name="object 11">
            <a:extLst>
              <a:ext uri="{FF2B5EF4-FFF2-40B4-BE49-F238E27FC236}">
                <a16:creationId xmlns:a16="http://schemas.microsoft.com/office/drawing/2014/main" id="{D8F00408-93A4-3935-A08B-F6AB685ECC3C}"/>
              </a:ext>
            </a:extLst>
          </p:cNvPr>
          <p:cNvSpPr/>
          <p:nvPr/>
        </p:nvSpPr>
        <p:spPr>
          <a:xfrm>
            <a:off x="561885" y="2351306"/>
            <a:ext cx="3671887" cy="468312"/>
          </a:xfrm>
          <a:prstGeom prst="roundRect">
            <a:avLst>
              <a:gd name="adj" fmla="val 7561"/>
            </a:avLst>
          </a:prstGeom>
          <a:solidFill>
            <a:schemeClr val="accent1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9" name="object 56">
            <a:extLst>
              <a:ext uri="{FF2B5EF4-FFF2-40B4-BE49-F238E27FC236}">
                <a16:creationId xmlns:a16="http://schemas.microsoft.com/office/drawing/2014/main" id="{5723892A-7FC7-452E-8E51-6A71A1B8328D}"/>
              </a:ext>
            </a:extLst>
          </p:cNvPr>
          <p:cNvSpPr txBox="1"/>
          <p:nvPr/>
        </p:nvSpPr>
        <p:spPr>
          <a:xfrm>
            <a:off x="720799" y="3034392"/>
            <a:ext cx="3348692" cy="1416303"/>
          </a:xfrm>
          <a:prstGeom prst="rect">
            <a:avLst/>
          </a:prstGeom>
        </p:spPr>
        <p:txBody>
          <a:bodyPr vert="horz" wrap="square" lIns="0" tIns="7701" rIns="0" bIns="0" rtlCol="0" anchor="ctr">
            <a:spAutoFit/>
          </a:bodyPr>
          <a:lstStyle/>
          <a:p>
            <a:pPr marL="7701" marR="3081">
              <a:lnSpc>
                <a:spcPct val="132500"/>
              </a:lnSpc>
              <a:spcBef>
                <a:spcPts val="61"/>
              </a:spcBef>
            </a:pPr>
            <a:r>
              <a:rPr lang="pl-PL" sz="1400" b="1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</a:t>
            </a:r>
            <a:r>
              <a:rPr lang="pl-PL" sz="1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e </a:t>
            </a:r>
            <a:r>
              <a:rPr lang="pl-PL" sz="1400" b="1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aged</a:t>
            </a:r>
            <a:r>
              <a:rPr lang="pl-PL" sz="1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pl-PL" sz="1400" b="1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iver</a:t>
            </a:r>
            <a:r>
              <a:rPr lang="pl-PL" sz="1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pl-PL" sz="1400" b="1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pl-PL" sz="1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mo </a:t>
            </a:r>
            <a:r>
              <a:rPr lang="pl-PL" sz="1400" b="1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</a:t>
            </a:r>
            <a:r>
              <a:rPr lang="pl-PL" sz="1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pl-PL" sz="1400" b="1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miautomated</a:t>
            </a:r>
            <a:r>
              <a:rPr lang="pl-PL" sz="1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b="1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lution</a:t>
            </a:r>
            <a:r>
              <a:rPr lang="pl-PL" sz="1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b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ry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odule was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ivered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y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but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ion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m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sential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or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lly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nctional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lution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object 22">
            <a:extLst>
              <a:ext uri="{FF2B5EF4-FFF2-40B4-BE49-F238E27FC236}">
                <a16:creationId xmlns:a16="http://schemas.microsoft.com/office/drawing/2014/main" id="{4D938A1E-17F3-F439-D5E1-CFE6E5B2418A}"/>
              </a:ext>
            </a:extLst>
          </p:cNvPr>
          <p:cNvSpPr txBox="1"/>
          <p:nvPr/>
        </p:nvSpPr>
        <p:spPr>
          <a:xfrm>
            <a:off x="788827" y="2341535"/>
            <a:ext cx="657280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1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object 38">
            <a:extLst>
              <a:ext uri="{FF2B5EF4-FFF2-40B4-BE49-F238E27FC236}">
                <a16:creationId xmlns:a16="http://schemas.microsoft.com/office/drawing/2014/main" id="{F1D82F05-D0B5-77FD-2A8B-B340105F779D}"/>
              </a:ext>
            </a:extLst>
          </p:cNvPr>
          <p:cNvSpPr/>
          <p:nvPr/>
        </p:nvSpPr>
        <p:spPr>
          <a:xfrm>
            <a:off x="1515487" y="2474352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object 28">
            <a:extLst>
              <a:ext uri="{FF2B5EF4-FFF2-40B4-BE49-F238E27FC236}">
                <a16:creationId xmlns:a16="http://schemas.microsoft.com/office/drawing/2014/main" id="{0CB6889F-E3E0-87DA-F043-35AC95B54BE8}"/>
              </a:ext>
            </a:extLst>
          </p:cNvPr>
          <p:cNvSpPr txBox="1"/>
          <p:nvPr/>
        </p:nvSpPr>
        <p:spPr>
          <a:xfrm>
            <a:off x="1675015" y="2399155"/>
            <a:ext cx="2480400" cy="25516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600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ion</a:t>
            </a:r>
            <a:endParaRPr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object 45">
            <a:extLst>
              <a:ext uri="{FF2B5EF4-FFF2-40B4-BE49-F238E27FC236}">
                <a16:creationId xmlns:a16="http://schemas.microsoft.com/office/drawing/2014/main" id="{A85DA448-7774-1C76-53AF-D8507D81B23C}"/>
              </a:ext>
            </a:extLst>
          </p:cNvPr>
          <p:cNvSpPr/>
          <p:nvPr/>
        </p:nvSpPr>
        <p:spPr>
          <a:xfrm>
            <a:off x="4305417" y="2892700"/>
            <a:ext cx="3666521" cy="1801748"/>
          </a:xfrm>
          <a:prstGeom prst="roundRect">
            <a:avLst>
              <a:gd name="adj" fmla="val 2099"/>
            </a:avLst>
          </a:prstGeom>
          <a:solidFill>
            <a:srgbClr val="FFFFFF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BC82FC1C-5050-3D10-2B2F-B0D385B20645}"/>
              </a:ext>
            </a:extLst>
          </p:cNvPr>
          <p:cNvSpPr/>
          <p:nvPr/>
        </p:nvSpPr>
        <p:spPr>
          <a:xfrm>
            <a:off x="4305417" y="2352890"/>
            <a:ext cx="3671887" cy="468312"/>
          </a:xfrm>
          <a:prstGeom prst="roundRect">
            <a:avLst>
              <a:gd name="adj" fmla="val 7561"/>
            </a:avLst>
          </a:prstGeom>
          <a:solidFill>
            <a:schemeClr val="accent1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22">
            <a:extLst>
              <a:ext uri="{FF2B5EF4-FFF2-40B4-BE49-F238E27FC236}">
                <a16:creationId xmlns:a16="http://schemas.microsoft.com/office/drawing/2014/main" id="{D7D06088-B7BD-C31E-A86B-E1C0439C7825}"/>
              </a:ext>
            </a:extLst>
          </p:cNvPr>
          <p:cNvSpPr txBox="1"/>
          <p:nvPr/>
        </p:nvSpPr>
        <p:spPr>
          <a:xfrm>
            <a:off x="4532359" y="2343119"/>
            <a:ext cx="657280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object 38">
            <a:extLst>
              <a:ext uri="{FF2B5EF4-FFF2-40B4-BE49-F238E27FC236}">
                <a16:creationId xmlns:a16="http://schemas.microsoft.com/office/drawing/2014/main" id="{FF8A4B11-E3EE-5422-6077-8EF9FEBCEC43}"/>
              </a:ext>
            </a:extLst>
          </p:cNvPr>
          <p:cNvSpPr/>
          <p:nvPr/>
        </p:nvSpPr>
        <p:spPr>
          <a:xfrm>
            <a:off x="5259019" y="2475936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28">
            <a:extLst>
              <a:ext uri="{FF2B5EF4-FFF2-40B4-BE49-F238E27FC236}">
                <a16:creationId xmlns:a16="http://schemas.microsoft.com/office/drawing/2014/main" id="{80BCDA5E-C1CE-C68C-B2A2-64B0B8695CBD}"/>
              </a:ext>
            </a:extLst>
          </p:cNvPr>
          <p:cNvSpPr txBox="1"/>
          <p:nvPr/>
        </p:nvSpPr>
        <p:spPr>
          <a:xfrm>
            <a:off x="5418547" y="2400739"/>
            <a:ext cx="2480400" cy="237595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oss-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ek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or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r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86" b="1" spc="-6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put</a:t>
            </a:r>
            <a:r>
              <a:rPr lang="pl-PL" sz="1486" b="1" spc="-6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sz="1486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object 45">
            <a:extLst>
              <a:ext uri="{FF2B5EF4-FFF2-40B4-BE49-F238E27FC236}">
                <a16:creationId xmlns:a16="http://schemas.microsoft.com/office/drawing/2014/main" id="{5CCBBAA0-4B11-80E5-42FA-555B5868266E}"/>
              </a:ext>
            </a:extLst>
          </p:cNvPr>
          <p:cNvSpPr/>
          <p:nvPr/>
        </p:nvSpPr>
        <p:spPr>
          <a:xfrm>
            <a:off x="8049490" y="2891116"/>
            <a:ext cx="3666521" cy="1801748"/>
          </a:xfrm>
          <a:prstGeom prst="roundRect">
            <a:avLst>
              <a:gd name="adj" fmla="val 2099"/>
            </a:avLst>
          </a:prstGeom>
          <a:solidFill>
            <a:srgbClr val="FFFFFF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9" name="object 11">
            <a:extLst>
              <a:ext uri="{FF2B5EF4-FFF2-40B4-BE49-F238E27FC236}">
                <a16:creationId xmlns:a16="http://schemas.microsoft.com/office/drawing/2014/main" id="{A2DA3059-774D-3CEB-775D-D66AF26F05BD}"/>
              </a:ext>
            </a:extLst>
          </p:cNvPr>
          <p:cNvSpPr/>
          <p:nvPr/>
        </p:nvSpPr>
        <p:spPr>
          <a:xfrm>
            <a:off x="8049490" y="2351306"/>
            <a:ext cx="3671887" cy="468312"/>
          </a:xfrm>
          <a:prstGeom prst="roundRect">
            <a:avLst>
              <a:gd name="adj" fmla="val 7561"/>
            </a:avLst>
          </a:prstGeom>
          <a:solidFill>
            <a:schemeClr val="accent1"/>
          </a:solidFill>
          <a:effectLst>
            <a:outerShdw blurRad="304800" dist="127000" sx="102000" sy="102000" algn="ctr" rotWithShape="0">
              <a:prstClr val="black">
                <a:alpha val="13000"/>
              </a:prstClr>
            </a:outerShdw>
          </a:effectLst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object 22">
            <a:extLst>
              <a:ext uri="{FF2B5EF4-FFF2-40B4-BE49-F238E27FC236}">
                <a16:creationId xmlns:a16="http://schemas.microsoft.com/office/drawing/2014/main" id="{BBD4EB91-CF62-85D2-BE4D-52E392F71BE7}"/>
              </a:ext>
            </a:extLst>
          </p:cNvPr>
          <p:cNvSpPr txBox="1"/>
          <p:nvPr/>
        </p:nvSpPr>
        <p:spPr>
          <a:xfrm>
            <a:off x="8276432" y="2341535"/>
            <a:ext cx="657280" cy="49944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pl-PL" sz="32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object 38">
            <a:extLst>
              <a:ext uri="{FF2B5EF4-FFF2-40B4-BE49-F238E27FC236}">
                <a16:creationId xmlns:a16="http://schemas.microsoft.com/office/drawing/2014/main" id="{2C31C1E6-5906-FBEB-3BD1-3FCEAD436260}"/>
              </a:ext>
            </a:extLst>
          </p:cNvPr>
          <p:cNvSpPr/>
          <p:nvPr/>
        </p:nvSpPr>
        <p:spPr>
          <a:xfrm>
            <a:off x="9003092" y="2474352"/>
            <a:ext cx="0" cy="252000"/>
          </a:xfrm>
          <a:custGeom>
            <a:avLst/>
            <a:gdLst/>
            <a:ahLst/>
            <a:cxnLst/>
            <a:rect l="l" t="t" r="r" b="b"/>
            <a:pathLst>
              <a:path h="494030">
                <a:moveTo>
                  <a:pt x="0" y="493660"/>
                </a:moveTo>
                <a:lnTo>
                  <a:pt x="0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3" name="object 28">
            <a:extLst>
              <a:ext uri="{FF2B5EF4-FFF2-40B4-BE49-F238E27FC236}">
                <a16:creationId xmlns:a16="http://schemas.microsoft.com/office/drawing/2014/main" id="{553F9AB3-FD6E-54CB-673C-6B1AF464305C}"/>
              </a:ext>
            </a:extLst>
          </p:cNvPr>
          <p:cNvSpPr txBox="1"/>
          <p:nvPr/>
        </p:nvSpPr>
        <p:spPr>
          <a:xfrm>
            <a:off x="9162620" y="2399155"/>
            <a:ext cx="2480400" cy="25516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lang="pl-PL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from </a:t>
            </a:r>
            <a:r>
              <a:rPr lang="pl-PL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pers</a:t>
            </a:r>
            <a:endParaRPr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pole tekstowe 25">
            <a:extLst>
              <a:ext uri="{FF2B5EF4-FFF2-40B4-BE49-F238E27FC236}">
                <a16:creationId xmlns:a16="http://schemas.microsoft.com/office/drawing/2014/main" id="{D09DA684-4305-FD53-5D7E-128276A1F8C5}"/>
              </a:ext>
            </a:extLst>
          </p:cNvPr>
          <p:cNvSpPr txBox="1"/>
          <p:nvPr/>
        </p:nvSpPr>
        <p:spPr>
          <a:xfrm>
            <a:off x="4305417" y="2963616"/>
            <a:ext cx="3585158" cy="15008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701" marR="3081">
              <a:lnSpc>
                <a:spcPct val="132500"/>
              </a:lnSpc>
              <a:spcBef>
                <a:spcPts val="61"/>
              </a:spcBef>
            </a:pP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olproofing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lution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y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ecking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put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ism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 by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gaging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r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a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versation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t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ex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ext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iginal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quest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pecially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en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o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lated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pers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und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pole tekstowe 26">
            <a:extLst>
              <a:ext uri="{FF2B5EF4-FFF2-40B4-BE49-F238E27FC236}">
                <a16:creationId xmlns:a16="http://schemas.microsoft.com/office/drawing/2014/main" id="{3F16BA62-6F96-2C97-66DA-E216DC4AFAB0}"/>
              </a:ext>
            </a:extLst>
          </p:cNvPr>
          <p:cNvSpPr txBox="1"/>
          <p:nvPr/>
        </p:nvSpPr>
        <p:spPr>
          <a:xfrm>
            <a:off x="8090906" y="3094309"/>
            <a:ext cx="3585158" cy="12143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701" marR="3081">
              <a:lnSpc>
                <a:spcPct val="132500"/>
              </a:lnSpc>
              <a:spcBef>
                <a:spcPts val="61"/>
              </a:spcBef>
            </a:pP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loitinig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ll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tential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pers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t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re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urate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rmation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ing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re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usted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urces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ure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ification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put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ten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ll</a:t>
            </a:r>
            <a:r>
              <a:rPr lang="pl-PL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pl-PL" sz="1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sible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51714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70FCCCF3-69A9-1941-9ED7-D92E7A4711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11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70FCCCF3-69A9-1941-9ED7-D92E7A4711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B89B6A-D2FD-19FD-E2EC-DC89960E9A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371116-A950-4FB5-A8B3-9733F640CB31}" type="slidenum">
              <a:rPr lang="pl-PL" smtClean="0"/>
              <a:pPr/>
              <a:t>8</a:t>
            </a:fld>
            <a:endParaRPr lang="pl-PL"/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4091F4A9-35BA-31EE-F722-995131185631}"/>
              </a:ext>
            </a:extLst>
          </p:cNvPr>
          <p:cNvSpPr txBox="1"/>
          <p:nvPr/>
        </p:nvSpPr>
        <p:spPr>
          <a:xfrm>
            <a:off x="843415" y="3574452"/>
            <a:ext cx="5644560" cy="261610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>
              <a:spcAft>
                <a:spcPts val="1000"/>
              </a:spcAft>
              <a:tabLst>
                <a:tab pos="182563" algn="l"/>
              </a:tabLst>
            </a:pPr>
            <a:r>
              <a:rPr lang="pl-PL" b="1" dirty="0" err="1">
                <a:solidFill>
                  <a:schemeClr val="accent1"/>
                </a:solidFill>
              </a:rPr>
              <a:t>Frogpt</a:t>
            </a:r>
            <a:r>
              <a:rPr lang="pl-PL" b="1" dirty="0">
                <a:solidFill>
                  <a:schemeClr val="accent1"/>
                </a:solidFill>
              </a:rPr>
              <a:t> team:</a:t>
            </a:r>
          </a:p>
          <a:p>
            <a:pPr marL="269875" indent="-269875">
              <a:spcAft>
                <a:spcPts val="1000"/>
              </a:spcAft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>
                <a:tab pos="182563" algn="l"/>
              </a:tabLst>
            </a:pPr>
            <a:r>
              <a:rPr lang="pl-PL" sz="1600" b="0" i="0" dirty="0">
                <a:solidFill>
                  <a:srgbClr val="1A1A1A"/>
                </a:solidFill>
                <a:effectLst/>
                <a:latin typeface="Roboto" panose="02000000000000000000" pitchFamily="2" charset="0"/>
              </a:rPr>
              <a:t>Kozak Mateusz </a:t>
            </a:r>
            <a:r>
              <a:rPr lang="pl-PL" sz="1600" b="0" i="0" dirty="0">
                <a:solidFill>
                  <a:srgbClr val="1A1A1A"/>
                </a:solidFill>
                <a:effectLst/>
                <a:latin typeface="Roboto" panose="02000000000000000000" pitchFamily="2" charset="0"/>
                <a:hlinkClick r:id="rId7"/>
              </a:rPr>
              <a:t>kozak.mateusz@zabka.pl</a:t>
            </a:r>
            <a:endParaRPr lang="pl-PL" sz="1600" dirty="0">
              <a:solidFill>
                <a:schemeClr val="accent1"/>
              </a:solidFill>
            </a:endParaRPr>
          </a:p>
          <a:p>
            <a:pPr marL="269875" indent="-269875">
              <a:spcAft>
                <a:spcPts val="1000"/>
              </a:spcAft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>
                <a:tab pos="182563" algn="l"/>
              </a:tabLst>
            </a:pPr>
            <a:r>
              <a:rPr lang="pl-PL" sz="1600" b="0" i="0" dirty="0">
                <a:solidFill>
                  <a:srgbClr val="1A1A1A"/>
                </a:solidFill>
                <a:effectLst/>
                <a:latin typeface="Roboto" panose="02000000000000000000" pitchFamily="2" charset="0"/>
              </a:rPr>
              <a:t>Kurkowski Bartosz </a:t>
            </a:r>
            <a:r>
              <a:rPr lang="pl-PL" sz="1600" b="0" i="0" dirty="0">
                <a:solidFill>
                  <a:srgbClr val="1A1A1A"/>
                </a:solidFill>
                <a:effectLst/>
                <a:latin typeface="Roboto" panose="02000000000000000000" pitchFamily="2" charset="0"/>
                <a:hlinkClick r:id="rId8"/>
              </a:rPr>
              <a:t>kurkowski.bartosz@zabka.pl</a:t>
            </a:r>
            <a:endParaRPr lang="pl-PL" sz="1600" dirty="0">
              <a:solidFill>
                <a:srgbClr val="1A1A1A"/>
              </a:solidFill>
              <a:latin typeface="Roboto" panose="02000000000000000000" pitchFamily="2" charset="0"/>
            </a:endParaRPr>
          </a:p>
          <a:p>
            <a:pPr marL="269875" indent="-269875">
              <a:spcAft>
                <a:spcPts val="1000"/>
              </a:spcAft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>
                <a:tab pos="182563" algn="l"/>
              </a:tabLst>
            </a:pPr>
            <a:r>
              <a:rPr lang="pl-PL" sz="1600" b="0" i="0" dirty="0">
                <a:solidFill>
                  <a:srgbClr val="1A1A1A"/>
                </a:solidFill>
                <a:effectLst/>
                <a:latin typeface="Roboto" panose="02000000000000000000" pitchFamily="2" charset="0"/>
              </a:rPr>
              <a:t>Mazurowski Sławomir </a:t>
            </a:r>
            <a:r>
              <a:rPr lang="pl-PL" sz="1600" b="0" i="0" dirty="0">
                <a:solidFill>
                  <a:srgbClr val="1A1A1A"/>
                </a:solidFill>
                <a:effectLst/>
                <a:latin typeface="Roboto" panose="02000000000000000000" pitchFamily="2" charset="0"/>
                <a:hlinkClick r:id="rId9"/>
              </a:rPr>
              <a:t>mazurowski.slawomir@zabka.pl</a:t>
            </a:r>
            <a:endParaRPr lang="pl-PL" sz="1600" dirty="0">
              <a:solidFill>
                <a:schemeClr val="accent1"/>
              </a:solidFill>
              <a:latin typeface="Roboto" panose="02000000000000000000" pitchFamily="2" charset="0"/>
            </a:endParaRPr>
          </a:p>
          <a:p>
            <a:pPr marL="269875" indent="-269875">
              <a:spcAft>
                <a:spcPts val="1000"/>
              </a:spcAft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>
                <a:tab pos="182563" algn="l"/>
              </a:tabLst>
            </a:pPr>
            <a:r>
              <a:rPr lang="pl-PL" sz="1600" b="0" i="0" dirty="0">
                <a:solidFill>
                  <a:srgbClr val="1A1A1A"/>
                </a:solidFill>
                <a:effectLst/>
                <a:latin typeface="Roboto" panose="02000000000000000000" pitchFamily="2" charset="0"/>
              </a:rPr>
              <a:t>Pietrzak Oliwia </a:t>
            </a:r>
            <a:r>
              <a:rPr lang="pl-PL" sz="1600" b="0" i="0" dirty="0">
                <a:solidFill>
                  <a:srgbClr val="1A1A1A"/>
                </a:solidFill>
                <a:effectLst/>
                <a:latin typeface="Roboto" panose="02000000000000000000" pitchFamily="2" charset="0"/>
                <a:hlinkClick r:id="rId10"/>
              </a:rPr>
              <a:t>pietrzak.oliwia@zabka.pl</a:t>
            </a:r>
            <a:endParaRPr lang="pl-PL" sz="1600" b="0" i="0" dirty="0">
              <a:solidFill>
                <a:srgbClr val="1A1A1A"/>
              </a:solidFill>
              <a:effectLst/>
              <a:latin typeface="Roboto" panose="02000000000000000000" pitchFamily="2" charset="0"/>
            </a:endParaRPr>
          </a:p>
          <a:p>
            <a:pPr marL="269875" indent="-269875">
              <a:spcAft>
                <a:spcPts val="1000"/>
              </a:spcAft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>
                <a:tab pos="182563" algn="l"/>
              </a:tabLst>
            </a:pPr>
            <a:r>
              <a:rPr lang="pl-PL" sz="1600" b="0" i="0" dirty="0">
                <a:solidFill>
                  <a:srgbClr val="1A1A1A"/>
                </a:solidFill>
                <a:effectLst/>
                <a:latin typeface="Roboto" panose="02000000000000000000" pitchFamily="2" charset="0"/>
              </a:rPr>
              <a:t>Szamborski Dariusz </a:t>
            </a:r>
            <a:r>
              <a:rPr lang="pl-PL" sz="1600" b="0" i="0" dirty="0">
                <a:solidFill>
                  <a:srgbClr val="1A1A1A"/>
                </a:solidFill>
                <a:effectLst/>
                <a:latin typeface="Roboto" panose="02000000000000000000" pitchFamily="2" charset="0"/>
                <a:hlinkClick r:id="rId11"/>
              </a:rPr>
              <a:t>szamborski.dariusz@zabka.pl</a:t>
            </a:r>
            <a:endParaRPr lang="pl-PL" sz="1600" b="0" i="0" dirty="0">
              <a:solidFill>
                <a:srgbClr val="1A1A1A"/>
              </a:solidFill>
              <a:effectLst/>
              <a:latin typeface="Roboto" panose="02000000000000000000" pitchFamily="2" charset="0"/>
            </a:endParaRPr>
          </a:p>
          <a:p>
            <a:pPr marL="269875" indent="-269875">
              <a:spcAft>
                <a:spcPts val="1000"/>
              </a:spcAft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>
                <a:tab pos="182563" algn="l"/>
              </a:tabLst>
            </a:pPr>
            <a:r>
              <a:rPr lang="pl-PL" sz="1600" b="0" i="0" dirty="0">
                <a:solidFill>
                  <a:srgbClr val="1A1A1A"/>
                </a:solidFill>
                <a:effectLst/>
                <a:latin typeface="Roboto" panose="02000000000000000000" pitchFamily="2" charset="0"/>
              </a:rPr>
              <a:t>Szmidt Mateusz </a:t>
            </a:r>
            <a:r>
              <a:rPr lang="pl-PL" sz="1600" dirty="0">
                <a:solidFill>
                  <a:srgbClr val="1A1A1A"/>
                </a:solidFill>
                <a:latin typeface="Roboto" panose="02000000000000000000" pitchFamily="2" charset="0"/>
                <a:hlinkClick r:id="rId12"/>
              </a:rPr>
              <a:t>s</a:t>
            </a:r>
            <a:r>
              <a:rPr lang="pl-PL" sz="1600" b="0" i="0" dirty="0">
                <a:solidFill>
                  <a:srgbClr val="1A1A1A"/>
                </a:solidFill>
                <a:effectLst/>
                <a:latin typeface="Roboto" panose="02000000000000000000" pitchFamily="2" charset="0"/>
                <a:hlinkClick r:id="rId12"/>
              </a:rPr>
              <a:t>zmidt.mateusz@zabka.pl</a:t>
            </a:r>
            <a:endParaRPr lang="pl-PL" sz="1600" b="0" i="0" dirty="0">
              <a:solidFill>
                <a:srgbClr val="1A1A1A"/>
              </a:solidFill>
              <a:effectLst/>
              <a:latin typeface="Roboto" panose="02000000000000000000" pitchFamily="2" charset="0"/>
            </a:endParaRP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96E88087-BEE9-6357-9361-4A34D399D76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5551" y="123784"/>
            <a:ext cx="2118463" cy="701822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8AFD9709-563D-25D0-E4F0-5B2AC716808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624014" y="123784"/>
            <a:ext cx="2083362" cy="701822"/>
          </a:xfrm>
          <a:prstGeom prst="rect">
            <a:avLst/>
          </a:prstGeom>
        </p:spPr>
      </p:pic>
      <p:sp>
        <p:nvSpPr>
          <p:cNvPr id="16" name="pole tekstowe 15">
            <a:extLst>
              <a:ext uri="{FF2B5EF4-FFF2-40B4-BE49-F238E27FC236}">
                <a16:creationId xmlns:a16="http://schemas.microsoft.com/office/drawing/2014/main" id="{B0A34E9F-0779-42C4-097C-8EA4C4C48860}"/>
              </a:ext>
            </a:extLst>
          </p:cNvPr>
          <p:cNvSpPr txBox="1"/>
          <p:nvPr/>
        </p:nvSpPr>
        <p:spPr>
          <a:xfrm>
            <a:off x="843415" y="2620345"/>
            <a:ext cx="534362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  <a:tabLst>
                <a:tab pos="182563" algn="l"/>
              </a:tabLst>
            </a:pPr>
            <a:r>
              <a:rPr lang="en-US" sz="2800" b="1" dirty="0">
                <a:solidFill>
                  <a:srgbClr val="006420"/>
                </a:solidFill>
              </a:rPr>
              <a:t>Fact-checking AI: </a:t>
            </a:r>
            <a:br>
              <a:rPr lang="pl-PL" sz="2800" b="1" dirty="0">
                <a:solidFill>
                  <a:srgbClr val="006420"/>
                </a:solidFill>
              </a:rPr>
            </a:br>
            <a:r>
              <a:rPr lang="en-US" sz="2800" b="1" dirty="0">
                <a:solidFill>
                  <a:srgbClr val="006420"/>
                </a:solidFill>
              </a:rPr>
              <a:t>Fighting Autism</a:t>
            </a:r>
            <a:r>
              <a:rPr lang="pl-PL" sz="2800" b="1" dirty="0">
                <a:solidFill>
                  <a:srgbClr val="006420"/>
                </a:solidFill>
              </a:rPr>
              <a:t> </a:t>
            </a:r>
            <a:r>
              <a:rPr lang="en-US" sz="2800" b="1" dirty="0">
                <a:solidFill>
                  <a:srgbClr val="006420"/>
                </a:solidFill>
              </a:rPr>
              <a:t>Disinformation</a:t>
            </a:r>
            <a:endParaRPr lang="pl-PL" sz="2800" b="1" dirty="0">
              <a:solidFill>
                <a:srgbClr val="006420"/>
              </a:solidFill>
            </a:endParaRPr>
          </a:p>
        </p:txBody>
      </p: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3BECBE5A-27C6-04AD-8452-CBFF1BB5C1DB}"/>
              </a:ext>
            </a:extLst>
          </p:cNvPr>
          <p:cNvSpPr txBox="1"/>
          <p:nvPr/>
        </p:nvSpPr>
        <p:spPr>
          <a:xfrm>
            <a:off x="4981270" y="1715076"/>
            <a:ext cx="24115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  <a:tabLst>
                <a:tab pos="182563" algn="l"/>
              </a:tabLst>
            </a:pPr>
            <a:r>
              <a:rPr lang="pl-PL" sz="3600" b="1" dirty="0" err="1">
                <a:solidFill>
                  <a:srgbClr val="006420"/>
                </a:solidFill>
              </a:rPr>
              <a:t>Thank</a:t>
            </a:r>
            <a:r>
              <a:rPr lang="pl-PL" sz="3600" b="1" dirty="0">
                <a:solidFill>
                  <a:srgbClr val="006420"/>
                </a:solidFill>
              </a:rPr>
              <a:t> </a:t>
            </a:r>
            <a:r>
              <a:rPr lang="pl-PL" sz="3600" b="1" dirty="0" err="1">
                <a:solidFill>
                  <a:srgbClr val="006420"/>
                </a:solidFill>
              </a:rPr>
              <a:t>you</a:t>
            </a:r>
            <a:r>
              <a:rPr lang="pl-PL" sz="3600" b="1" dirty="0">
                <a:solidFill>
                  <a:srgbClr val="006420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419594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svg"/><Relationship Id="rId1" Type="http://schemas.openxmlformats.org/officeDocument/2006/relationships/image" Target="../media/image7.png"/></Relationships>
</file>

<file path=ppt/theme/_rels/them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svg"/><Relationship Id="rId1" Type="http://schemas.openxmlformats.org/officeDocument/2006/relationships/image" Target="../media/image7.png"/></Relationships>
</file>

<file path=ppt/theme/theme1.xml><?xml version="1.0" encoding="utf-8"?>
<a:theme xmlns:a="http://schemas.openxmlformats.org/drawingml/2006/main" name="Motyw Pure">
  <a:themeElements>
    <a:clrScheme name="Custom 366">
      <a:dk1>
        <a:srgbClr val="393939"/>
      </a:dk1>
      <a:lt1>
        <a:sysClr val="window" lastClr="FFFFFF"/>
      </a:lt1>
      <a:dk2>
        <a:srgbClr val="2DAA5A"/>
      </a:dk2>
      <a:lt2>
        <a:srgbClr val="535353"/>
      </a:lt2>
      <a:accent1>
        <a:srgbClr val="006420"/>
      </a:accent1>
      <a:accent2>
        <a:srgbClr val="FFD500"/>
      </a:accent2>
      <a:accent3>
        <a:srgbClr val="EF7D00"/>
      </a:accent3>
      <a:accent4>
        <a:srgbClr val="43B649"/>
      </a:accent4>
      <a:accent5>
        <a:srgbClr val="989898"/>
      </a:accent5>
      <a:accent6>
        <a:srgbClr val="E30613"/>
      </a:accent6>
      <a:hlink>
        <a:srgbClr val="006420"/>
      </a:hlink>
      <a:folHlink>
        <a:srgbClr val="2DAA5A"/>
      </a:folHlink>
    </a:clrScheme>
    <a:fontScheme name="Custom 25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>
          <a:outerShdw blurRad="152400" dist="12700" dir="2700000" algn="ctr" rotWithShape="0">
            <a:prstClr val="black">
              <a:alpha val="10000"/>
            </a:prstClr>
          </a:outerShdw>
        </a:effectLst>
      </a:spPr>
      <a:bodyPr wrap="square" lIns="0" tIns="0" rIns="0" bIns="0" rtlCol="0" anchor="ctr"/>
      <a:lstStyle>
        <a:defPPr marL="7701" algn="ctr">
          <a:spcBef>
            <a:spcPts val="58"/>
          </a:spcBef>
          <a:defRPr sz="1600" b="1" spc="-12" smtClean="0">
            <a:solidFill>
              <a:schemeClr val="bg1"/>
            </a:solidFill>
            <a:latin typeface="+mj-lt"/>
            <a:cs typeface="Intro Bold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rtlCol="0" anchor="ctr">
        <a:spAutoFit/>
      </a:bodyPr>
      <a:lstStyle>
        <a:defPPr marL="269875" indent="-269875" algn="l">
          <a:spcAft>
            <a:spcPts val="1000"/>
          </a:spcAft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tabLst>
            <a:tab pos="182563" algn="l"/>
          </a:tabLst>
          <a:defRPr sz="1600" dirty="0" err="1" smtClean="0">
            <a:solidFill>
              <a:schemeClr val="accent1"/>
            </a:solidFill>
          </a:defRPr>
        </a:defPPr>
      </a:lstStyle>
    </a:txDef>
  </a:objectDefaults>
  <a:extraClrSchemeLst/>
  <a:custClrLst>
    <a:custClr name="Delio green">
      <a:srgbClr val="004745"/>
    </a:custClr>
    <a:custClr name="Nano light blue">
      <a:srgbClr val="00BBFF"/>
    </a:custClr>
    <a:custClr name="Nano full blue">
      <a:srgbClr val="004E9E"/>
    </a:custClr>
    <a:custClr name="Dietly blue">
      <a:srgbClr val="06257F"/>
    </a:custClr>
    <a:custClr name="Maczfit tan">
      <a:srgbClr val="E55C43"/>
    </a:custClr>
  </a:custClrLst>
</a:theme>
</file>

<file path=ppt/theme/theme2.xml><?xml version="1.0" encoding="utf-8"?>
<a:theme xmlns:a="http://schemas.openxmlformats.org/drawingml/2006/main" name="Motyw Mint">
  <a:themeElements>
    <a:clrScheme name="Custom 367">
      <a:dk1>
        <a:srgbClr val="393939"/>
      </a:dk1>
      <a:lt1>
        <a:sysClr val="window" lastClr="FFFFFF"/>
      </a:lt1>
      <a:dk2>
        <a:srgbClr val="2DAA5A"/>
      </a:dk2>
      <a:lt2>
        <a:srgbClr val="535353"/>
      </a:lt2>
      <a:accent1>
        <a:srgbClr val="006420"/>
      </a:accent1>
      <a:accent2>
        <a:srgbClr val="FFD500"/>
      </a:accent2>
      <a:accent3>
        <a:srgbClr val="EF7D00"/>
      </a:accent3>
      <a:accent4>
        <a:srgbClr val="43B649"/>
      </a:accent4>
      <a:accent5>
        <a:srgbClr val="989898"/>
      </a:accent5>
      <a:accent6>
        <a:srgbClr val="E30613"/>
      </a:accent6>
      <a:hlink>
        <a:srgbClr val="006420"/>
      </a:hlink>
      <a:folHlink>
        <a:srgbClr val="2DAA5A"/>
      </a:folHlink>
    </a:clrScheme>
    <a:fontScheme name="Custom 25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effectLst>
          <a:outerShdw blurRad="152400" dist="12700" dir="2700000" algn="ctr" rotWithShape="0">
            <a:prstClr val="black">
              <a:alpha val="10000"/>
            </a:prstClr>
          </a:outerShdw>
        </a:effectLst>
      </a:spPr>
      <a:bodyPr wrap="square" lIns="0" tIns="0" rIns="0" bIns="0" rtlCol="0" anchor="ctr"/>
      <a:lstStyle>
        <a:defPPr marL="7701" algn="ctr">
          <a:spcBef>
            <a:spcPts val="58"/>
          </a:spcBef>
          <a:defRPr sz="1600" b="1" spc="-12" dirty="0" err="1" smtClean="0">
            <a:solidFill>
              <a:schemeClr val="accent1"/>
            </a:solidFill>
            <a:latin typeface="Intro Bold"/>
            <a:cs typeface="Intro Bold"/>
          </a:defRPr>
        </a:defPPr>
      </a:lstStyle>
    </a:spDef>
    <a:lnDef>
      <a:spPr>
        <a:ln w="952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rtlCol="0" anchor="ctr">
        <a:spAutoFit/>
      </a:bodyPr>
      <a:lstStyle>
        <a:defPPr marL="285750" indent="-285750" algn="l">
          <a:spcAft>
            <a:spcPts val="1000"/>
          </a:spcAft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sz="16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Delio green">
      <a:srgbClr val="004745"/>
    </a:custClr>
    <a:custClr name="Nano light blue">
      <a:srgbClr val="00BBFF"/>
    </a:custClr>
    <a:custClr name="Nano full blue">
      <a:srgbClr val="004E9E"/>
    </a:custClr>
    <a:custClr name="Dietly blue">
      <a:srgbClr val="06257F"/>
    </a:custClr>
    <a:custClr name="Maczfit tan">
      <a:srgbClr val="E55C43"/>
    </a:custClr>
  </a:custClrLst>
</a:theme>
</file>

<file path=ppt/theme/theme3.xml><?xml version="1.0" encoding="utf-8"?>
<a:theme xmlns:a="http://schemas.openxmlformats.org/drawingml/2006/main" name="Motyw Sophisto">
  <a:themeElements>
    <a:clrScheme name="Custom 368">
      <a:dk1>
        <a:srgbClr val="393939"/>
      </a:dk1>
      <a:lt1>
        <a:sysClr val="window" lastClr="FFFFFF"/>
      </a:lt1>
      <a:dk2>
        <a:srgbClr val="2DAA5A"/>
      </a:dk2>
      <a:lt2>
        <a:srgbClr val="535353"/>
      </a:lt2>
      <a:accent1>
        <a:srgbClr val="006420"/>
      </a:accent1>
      <a:accent2>
        <a:srgbClr val="FFD500"/>
      </a:accent2>
      <a:accent3>
        <a:srgbClr val="EF7D00"/>
      </a:accent3>
      <a:accent4>
        <a:srgbClr val="43B649"/>
      </a:accent4>
      <a:accent5>
        <a:srgbClr val="989898"/>
      </a:accent5>
      <a:accent6>
        <a:srgbClr val="E30613"/>
      </a:accent6>
      <a:hlink>
        <a:srgbClr val="006420"/>
      </a:hlink>
      <a:folHlink>
        <a:srgbClr val="2DAA5A"/>
      </a:folHlink>
    </a:clrScheme>
    <a:fontScheme name="Custom 25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effectLst>
          <a:outerShdw blurRad="304800" dist="228600" dir="3060000" sx="101000" sy="101000" algn="ctr" rotWithShape="0">
            <a:prstClr val="black">
              <a:alpha val="10000"/>
            </a:prstClr>
          </a:outerShdw>
        </a:effectLst>
      </a:spPr>
      <a:bodyPr vert="horz" wrap="square" lIns="108000" tIns="108000" rIns="108000" bIns="108000" rtlCol="0" anchor="ctr">
        <a:normAutofit/>
      </a:bodyPr>
      <a:lstStyle>
        <a:defPPr algn="ctr">
          <a:lnSpc>
            <a:spcPct val="90000"/>
          </a:lnSpc>
          <a:spcBef>
            <a:spcPts val="1000"/>
          </a:spcBef>
          <a:defRPr sz="1600" dirty="0" err="1" smtClean="0">
            <a:solidFill>
              <a:schemeClr val="tx2"/>
            </a:solidFill>
            <a:latin typeface="+mj-lt"/>
          </a:defRPr>
        </a:defPPr>
      </a:lstStyle>
    </a:spDef>
    <a:lnDef>
      <a:spPr>
        <a:ln w="952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rtlCol="0" anchor="ctr">
        <a:spAutoFit/>
      </a:bodyPr>
      <a:lstStyle>
        <a:defPPr marL="285750" indent="-285750" algn="l">
          <a:spcAft>
            <a:spcPts val="1000"/>
          </a:spcAft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sz="16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Delio green">
      <a:srgbClr val="004745"/>
    </a:custClr>
    <a:custClr name="Nano light blue">
      <a:srgbClr val="00BBFF"/>
    </a:custClr>
    <a:custClr name="Nano full blue">
      <a:srgbClr val="004E9E"/>
    </a:custClr>
    <a:custClr name="Dietly blue">
      <a:srgbClr val="06257F"/>
    </a:custClr>
    <a:custClr name="Maczfit tan">
      <a:srgbClr val="E55C43"/>
    </a:custClr>
  </a:custClr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9</TotalTime>
  <Words>391</Words>
  <Application>Microsoft Office PowerPoint</Application>
  <PresentationFormat>Panoramiczny</PresentationFormat>
  <Paragraphs>67</Paragraphs>
  <Slides>8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3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8</vt:i4>
      </vt:variant>
    </vt:vector>
  </HeadingPairs>
  <TitlesOfParts>
    <vt:vector size="16" baseType="lpstr">
      <vt:lpstr>arial</vt:lpstr>
      <vt:lpstr>arial</vt:lpstr>
      <vt:lpstr>Calibri</vt:lpstr>
      <vt:lpstr>Roboto</vt:lpstr>
      <vt:lpstr>Motyw Pure</vt:lpstr>
      <vt:lpstr>Motyw Mint</vt:lpstr>
      <vt:lpstr>Motyw Sophisto</vt:lpstr>
      <vt:lpstr>think-cell Slide</vt:lpstr>
      <vt:lpstr>Fact-checking AI: Fighting Autism Disinformation Frogpt Team</vt:lpstr>
      <vt:lpstr>Technical approach – why and how it works?</vt:lpstr>
      <vt:lpstr>Converting user’s input into keywords for papers’ search</vt:lpstr>
      <vt:lpstr>Scrapping relevant research papers and summarization</vt:lpstr>
      <vt:lpstr>Comparing user’s input with relevant articles on a topic</vt:lpstr>
      <vt:lpstr>Response and feedback information for user  </vt:lpstr>
      <vt:lpstr>What are next steps for our demo?</vt:lpstr>
      <vt:lpstr>Prezentacj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lideFormation.com</dc:creator>
  <cp:lastModifiedBy>Szmidt Mateusz</cp:lastModifiedBy>
  <cp:revision>2</cp:revision>
  <dcterms:created xsi:type="dcterms:W3CDTF">2022-07-15T07:31:07Z</dcterms:created>
  <dcterms:modified xsi:type="dcterms:W3CDTF">2023-06-15T10:56:33Z</dcterms:modified>
</cp:coreProperties>
</file>